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  <p:sldMasterId id="2147483659" r:id="rId2"/>
    <p:sldMasterId id="2147483664" r:id="rId3"/>
  </p:sldMasterIdLst>
  <p:notesMasterIdLst>
    <p:notesMasterId r:id="rId12"/>
  </p:notesMasterIdLst>
  <p:handoutMasterIdLst>
    <p:handoutMasterId r:id="rId13"/>
  </p:handoutMasterIdLst>
  <p:sldIdLst>
    <p:sldId id="291" r:id="rId4"/>
    <p:sldId id="4483" r:id="rId5"/>
    <p:sldId id="4482" r:id="rId6"/>
    <p:sldId id="4490" r:id="rId7"/>
    <p:sldId id="4489" r:id="rId8"/>
    <p:sldId id="4485" r:id="rId9"/>
    <p:sldId id="4488" r:id="rId10"/>
    <p:sldId id="4487" r:id="rId11"/>
  </p:sldIdLst>
  <p:sldSz cx="9906000" cy="6858000" type="A4"/>
  <p:notesSz cx="9866313" cy="673576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EA962038-A71C-4C16-A573-B8DCBA870FF7}">
          <p14:sldIdLst>
            <p14:sldId id="291"/>
            <p14:sldId id="4483"/>
            <p14:sldId id="4482"/>
            <p14:sldId id="4490"/>
            <p14:sldId id="4489"/>
            <p14:sldId id="4485"/>
            <p14:sldId id="4488"/>
            <p14:sldId id="4487"/>
          </p14:sldIdLst>
        </p14:section>
        <p14:section name="폐기" id="{B7CF686A-8034-43E9-93D7-FE25C953559A}">
          <p14:sldIdLst/>
        </p14:section>
      </p14:sectionLst>
    </p:ext>
    <p:ext uri="{EFAFB233-063F-42B5-8137-9DF3F51BA10A}">
      <p15:sldGuideLst xmlns:p15="http://schemas.microsoft.com/office/powerpoint/2012/main">
        <p15:guide id="3" pos="245" userDrawn="1">
          <p15:clr>
            <a:srgbClr val="A4A3A4"/>
          </p15:clr>
        </p15:guide>
        <p15:guide id="4" orient="horz" pos="2205" userDrawn="1">
          <p15:clr>
            <a:srgbClr val="A4A3A4"/>
          </p15:clr>
        </p15:guide>
        <p15:guide id="5" orient="horz" pos="822" userDrawn="1">
          <p15:clr>
            <a:srgbClr val="A4A3A4"/>
          </p15:clr>
        </p15:guide>
        <p15:guide id="6" pos="3143" userDrawn="1">
          <p15:clr>
            <a:srgbClr val="A4A3A4"/>
          </p15:clr>
        </p15:guide>
        <p15:guide id="7" pos="6013" userDrawn="1">
          <p15:clr>
            <a:srgbClr val="A4A3A4"/>
          </p15:clr>
        </p15:guide>
        <p15:guide id="8" orient="horz" pos="3952" userDrawn="1">
          <p15:clr>
            <a:srgbClr val="A4A3A4"/>
          </p15:clr>
        </p15:guide>
        <p15:guide id="9" pos="15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0915"/>
    <a:srgbClr val="7F7E82"/>
    <a:srgbClr val="FF0000"/>
    <a:srgbClr val="111111"/>
    <a:srgbClr val="3EA0C1"/>
    <a:srgbClr val="4D4D4D"/>
    <a:srgbClr val="999999"/>
    <a:srgbClr val="FFFFCC"/>
    <a:srgbClr val="FFB41D"/>
    <a:srgbClr val="FEE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74" autoAdjust="0"/>
    <p:restoredTop sz="93521" autoAdjust="0"/>
  </p:normalViewPr>
  <p:slideViewPr>
    <p:cSldViewPr snapToGrid="0" showGuides="1">
      <p:cViewPr varScale="1">
        <p:scale>
          <a:sx n="104" d="100"/>
          <a:sy n="104" d="100"/>
        </p:scale>
        <p:origin x="1265" y="62"/>
      </p:cViewPr>
      <p:guideLst>
        <p:guide pos="245"/>
        <p:guide orient="horz" pos="2205"/>
        <p:guide orient="horz" pos="822"/>
        <p:guide pos="3143"/>
        <p:guide pos="6013"/>
        <p:guide orient="horz" pos="3952"/>
        <p:guide pos="153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114" d="100"/>
          <a:sy n="114" d="100"/>
        </p:scale>
        <p:origin x="210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5402" cy="337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588628" y="0"/>
            <a:ext cx="4275402" cy="337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F624F4-DD1F-4464-947E-AAB2B2D91089}" type="datetimeFigureOut">
              <a:rPr lang="ko-KR" altLang="en-US" smtClean="0"/>
              <a:t>2025-01-28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6397806"/>
            <a:ext cx="4275402" cy="337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588628" y="6397806"/>
            <a:ext cx="4275402" cy="337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5AB60C-34BC-4F8F-B38E-DD9FD9060031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73038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5402" cy="337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588628" y="0"/>
            <a:ext cx="4275402" cy="3379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9D08D-5E54-4B13-8AF8-912354E4BC25}" type="datetimeFigureOut">
              <a:rPr lang="ko-KR" altLang="en-US" smtClean="0"/>
              <a:t>2025-01-28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290888" y="841375"/>
            <a:ext cx="3284537" cy="22733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86632" y="3241586"/>
            <a:ext cx="7893050" cy="265220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397806"/>
            <a:ext cx="4275402" cy="337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588628" y="6397806"/>
            <a:ext cx="4275402" cy="337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A28074-4638-4DBA-AE00-53788B7C4010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770508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F784BE-CBE5-8AA0-E67A-50F45E6842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FBCBE829-A051-89D8-FEBB-A7D7D1EFDC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900363" y="857250"/>
            <a:ext cx="3343275" cy="2314575"/>
          </a:xfrm>
        </p:spPr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130F21C9-BD7D-20B5-99B4-DBFF24F99F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6E3C403-12E5-C739-D42F-A2200D441D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896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CDC8F2-6D1F-4C30-8157-1EADC6E54C82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3896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325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본문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0" y="0"/>
            <a:ext cx="9901125" cy="108000"/>
          </a:xfrm>
          <a:prstGeom prst="rect">
            <a:avLst/>
          </a:prstGeom>
          <a:solidFill>
            <a:srgbClr val="005E64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 dirty="0">
              <a:ln>
                <a:solidFill>
                  <a:srgbClr val="002060"/>
                </a:solidFill>
              </a:ln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097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68727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04139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807475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70386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776576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74377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697891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7882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표지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192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593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45000" cy="68969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0081" y="6561923"/>
            <a:ext cx="2651688" cy="20480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731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731" baseline="0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4 LROD Solution Co., Ltd All right reserved.</a:t>
            </a:r>
            <a:endParaRPr lang="ko-KR" altLang="en-US" sz="731" dirty="0">
              <a:solidFill>
                <a:schemeClr val="tx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1267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45000" cy="689699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0081" y="6561923"/>
            <a:ext cx="2651688" cy="20480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731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731" baseline="0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3 LROD Solution Co., Ltd All right reserved.</a:t>
            </a:r>
            <a:endParaRPr lang="ko-KR" altLang="en-US" sz="731" dirty="0">
              <a:solidFill>
                <a:schemeClr val="tx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9E7718-D83B-AC5E-FB1C-6316FE999657}"/>
              </a:ext>
            </a:extLst>
          </p:cNvPr>
          <p:cNvSpPr txBox="1"/>
          <p:nvPr userDrawn="1"/>
        </p:nvSpPr>
        <p:spPr>
          <a:xfrm>
            <a:off x="674502" y="6166507"/>
            <a:ext cx="2651688" cy="20480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731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731" baseline="0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3 LROD Solution Co., Ltd All right reserved.</a:t>
            </a:r>
            <a:endParaRPr lang="ko-KR" altLang="en-US" sz="731" dirty="0">
              <a:solidFill>
                <a:schemeClr val="bg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E77167A-F09F-C5EF-6020-55DBBE8D69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0663" y="-10227"/>
            <a:ext cx="9965663" cy="69078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FFE67D-3392-FA4E-82FE-C01B3BD050CB}"/>
              </a:ext>
            </a:extLst>
          </p:cNvPr>
          <p:cNvSpPr txBox="1"/>
          <p:nvPr userDrawn="1"/>
        </p:nvSpPr>
        <p:spPr>
          <a:xfrm>
            <a:off x="674502" y="6166507"/>
            <a:ext cx="2651688" cy="20480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731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731" baseline="0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4 LROD Solution Co., Ltd All right reserved.</a:t>
            </a:r>
            <a:endParaRPr lang="ko-KR" altLang="en-US" sz="731" dirty="0">
              <a:solidFill>
                <a:schemeClr val="bg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F6866B-24D5-612F-3D4F-9F4EFC20E9C6}"/>
              </a:ext>
            </a:extLst>
          </p:cNvPr>
          <p:cNvSpPr txBox="1"/>
          <p:nvPr userDrawn="1"/>
        </p:nvSpPr>
        <p:spPr>
          <a:xfrm>
            <a:off x="674502" y="1154010"/>
            <a:ext cx="4996872" cy="1642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ko-KR" altLang="en-US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디지털 전환</a:t>
            </a:r>
            <a:r>
              <a:rPr lang="en-US" altLang="ko-KR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(DX)</a:t>
            </a:r>
            <a:r>
              <a:rPr lang="ko-KR" altLang="en-US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의 시대</a:t>
            </a:r>
            <a:r>
              <a:rPr lang="en-US" altLang="ko-KR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!</a:t>
            </a:r>
          </a:p>
          <a:p>
            <a:pPr>
              <a:lnSpc>
                <a:spcPct val="100000"/>
              </a:lnSpc>
            </a:pPr>
            <a:endParaRPr lang="en-US" altLang="ko-KR" sz="2275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>
              <a:lnSpc>
                <a:spcPct val="100000"/>
              </a:lnSpc>
            </a:pPr>
            <a:r>
              <a:rPr lang="en-US" altLang="ko-KR" sz="2600" dirty="0">
                <a:solidFill>
                  <a:srgbClr val="C8E9F8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RPA</a:t>
            </a:r>
            <a:r>
              <a:rPr lang="ko-KR" altLang="en-US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를 도입을 통한 미래 대비는 전문업체와 상의해 주세요</a:t>
            </a:r>
            <a:r>
              <a:rPr lang="en-US" altLang="ko-KR" sz="26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.</a:t>
            </a:r>
            <a:endParaRPr lang="en-US" altLang="ko-KR" sz="2600" baseline="0" dirty="0">
              <a:solidFill>
                <a:schemeClr val="bg1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4EC3ED8A-FA89-81D8-E323-630254D4A9CA}"/>
              </a:ext>
            </a:extLst>
          </p:cNvPr>
          <p:cNvCxnSpPr>
            <a:cxnSpLocks/>
          </p:cNvCxnSpPr>
          <p:nvPr userDrawn="1"/>
        </p:nvCxnSpPr>
        <p:spPr>
          <a:xfrm>
            <a:off x="725407" y="4086225"/>
            <a:ext cx="4882145" cy="0"/>
          </a:xfrm>
          <a:prstGeom prst="line">
            <a:avLst/>
          </a:prstGeom>
          <a:ln w="28575">
            <a:solidFill>
              <a:srgbClr val="27E3F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0415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Y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8585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3051" y="750186"/>
            <a:ext cx="9359900" cy="29238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74293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 sz="1300" b="1" spc="-41" baseline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217978" indent="-175415" latinLnBrk="0">
              <a:defRPr sz="1300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438739" indent="-175496" latinLnBrk="0">
              <a:defRPr sz="1138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658109" indent="-175496" latinLnBrk="0">
              <a:defRPr sz="1138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877478" indent="-175496" latinLnBrk="0">
              <a:defRPr sz="975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3054" y="332661"/>
            <a:ext cx="9359896" cy="334313"/>
          </a:xfrm>
          <a:prstGeom prst="rect">
            <a:avLst/>
          </a:prstGeom>
        </p:spPr>
        <p:txBody>
          <a:bodyPr wrap="square" lIns="39600" tIns="36000" rIns="39600" bIns="36000">
            <a:noAutofit/>
          </a:bodyPr>
          <a:lstStyle>
            <a:lvl1pPr>
              <a:defRPr sz="1625" spc="-41" baseline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69157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3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3051" y="750186"/>
            <a:ext cx="9359900" cy="29238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74293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 sz="1300" b="1" spc="-41" baseline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217978" indent="-175415" latinLnBrk="0">
              <a:defRPr sz="1300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438739" indent="-175496" latinLnBrk="0">
              <a:defRPr sz="1138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658109" indent="-175496" latinLnBrk="0">
              <a:defRPr sz="1138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877478" indent="-175496" latinLnBrk="0">
              <a:defRPr sz="975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3054" y="332661"/>
            <a:ext cx="9359896" cy="334313"/>
          </a:xfrm>
          <a:prstGeom prst="rect">
            <a:avLst/>
          </a:prstGeom>
        </p:spPr>
        <p:txBody>
          <a:bodyPr wrap="square" lIns="39600" tIns="36000" rIns="39600" bIns="36000">
            <a:noAutofit/>
          </a:bodyPr>
          <a:lstStyle>
            <a:lvl1pPr>
              <a:defRPr sz="1625" spc="-41" baseline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40698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Y_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60882" y="1799131"/>
            <a:ext cx="502998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960882" y="2769578"/>
            <a:ext cx="5029982" cy="6457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85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107">
                <a:solidFill>
                  <a:srgbClr val="404040"/>
                </a:solidFill>
              </a:defRPr>
            </a:lvl2pPr>
            <a:lvl3pPr marL="63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49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82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99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15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6" name="Freeform 5"/>
          <p:cNvSpPr>
            <a:spLocks noChangeAspect="1"/>
          </p:cNvSpPr>
          <p:nvPr userDrawn="1"/>
        </p:nvSpPr>
        <p:spPr bwMode="gray">
          <a:xfrm rot="10800000">
            <a:off x="598803" y="644584"/>
            <a:ext cx="6406424" cy="353267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0 w 10054"/>
              <a:gd name="connsiteY0" fmla="*/ 1138 h 10001"/>
              <a:gd name="connsiteX1" fmla="*/ 54 w 10054"/>
              <a:gd name="connsiteY1" fmla="*/ 10001 h 10001"/>
              <a:gd name="connsiteX2" fmla="*/ 10054 w 10054"/>
              <a:gd name="connsiteY2" fmla="*/ 7905 h 10001"/>
              <a:gd name="connsiteX3" fmla="*/ 10054 w 10054"/>
              <a:gd name="connsiteY3" fmla="*/ 1 h 10001"/>
              <a:gd name="connsiteX4" fmla="*/ 0 w 10054"/>
              <a:gd name="connsiteY4" fmla="*/ 1138 h 10001"/>
              <a:gd name="connsiteX0" fmla="*/ 0 w 10054"/>
              <a:gd name="connsiteY0" fmla="*/ 88 h 8951"/>
              <a:gd name="connsiteX1" fmla="*/ 54 w 10054"/>
              <a:gd name="connsiteY1" fmla="*/ 8951 h 8951"/>
              <a:gd name="connsiteX2" fmla="*/ 10054 w 10054"/>
              <a:gd name="connsiteY2" fmla="*/ 6855 h 8951"/>
              <a:gd name="connsiteX3" fmla="*/ 10034 w 10054"/>
              <a:gd name="connsiteY3" fmla="*/ 0 h 8951"/>
              <a:gd name="connsiteX4" fmla="*/ 0 w 10054"/>
              <a:gd name="connsiteY4" fmla="*/ 88 h 8951"/>
              <a:gd name="connsiteX0" fmla="*/ 0 w 10000"/>
              <a:gd name="connsiteY0" fmla="*/ 98 h 10000"/>
              <a:gd name="connsiteX1" fmla="*/ 54 w 10000"/>
              <a:gd name="connsiteY1" fmla="*/ 10000 h 10000"/>
              <a:gd name="connsiteX2" fmla="*/ 10000 w 10000"/>
              <a:gd name="connsiteY2" fmla="*/ 7658 h 10000"/>
              <a:gd name="connsiteX3" fmla="*/ 9960 w 10000"/>
              <a:gd name="connsiteY3" fmla="*/ 0 h 10000"/>
              <a:gd name="connsiteX4" fmla="*/ 0 w 10000"/>
              <a:gd name="connsiteY4" fmla="*/ 98 h 10000"/>
              <a:gd name="connsiteX0" fmla="*/ 0 w 10000"/>
              <a:gd name="connsiteY0" fmla="*/ 45 h 9947"/>
              <a:gd name="connsiteX1" fmla="*/ 54 w 10000"/>
              <a:gd name="connsiteY1" fmla="*/ 9947 h 9947"/>
              <a:gd name="connsiteX2" fmla="*/ 10000 w 10000"/>
              <a:gd name="connsiteY2" fmla="*/ 7605 h 9947"/>
              <a:gd name="connsiteX3" fmla="*/ 9940 w 10000"/>
              <a:gd name="connsiteY3" fmla="*/ 0 h 9947"/>
              <a:gd name="connsiteX4" fmla="*/ 0 w 10000"/>
              <a:gd name="connsiteY4" fmla="*/ 45 h 9947"/>
              <a:gd name="connsiteX0" fmla="*/ 0 w 10000"/>
              <a:gd name="connsiteY0" fmla="*/ 45 h 10000"/>
              <a:gd name="connsiteX1" fmla="*/ 54 w 10000"/>
              <a:gd name="connsiteY1" fmla="*/ 10000 h 10000"/>
              <a:gd name="connsiteX2" fmla="*/ 10000 w 10000"/>
              <a:gd name="connsiteY2" fmla="*/ 7646 h 10000"/>
              <a:gd name="connsiteX3" fmla="*/ 9978 w 10000"/>
              <a:gd name="connsiteY3" fmla="*/ 0 h 10000"/>
              <a:gd name="connsiteX4" fmla="*/ 0 w 10000"/>
              <a:gd name="connsiteY4" fmla="*/ 45 h 10000"/>
              <a:gd name="connsiteX0" fmla="*/ 30 w 9946"/>
              <a:gd name="connsiteY0" fmla="*/ 832 h 10000"/>
              <a:gd name="connsiteX1" fmla="*/ 0 w 9946"/>
              <a:gd name="connsiteY1" fmla="*/ 10000 h 10000"/>
              <a:gd name="connsiteX2" fmla="*/ 9946 w 9946"/>
              <a:gd name="connsiteY2" fmla="*/ 7646 h 10000"/>
              <a:gd name="connsiteX3" fmla="*/ 9924 w 9946"/>
              <a:gd name="connsiteY3" fmla="*/ 0 h 10000"/>
              <a:gd name="connsiteX4" fmla="*/ 30 w 9946"/>
              <a:gd name="connsiteY4" fmla="*/ 832 h 10000"/>
              <a:gd name="connsiteX0" fmla="*/ 30 w 10007"/>
              <a:gd name="connsiteY0" fmla="*/ 0 h 9168"/>
              <a:gd name="connsiteX1" fmla="*/ 0 w 10007"/>
              <a:gd name="connsiteY1" fmla="*/ 9168 h 9168"/>
              <a:gd name="connsiteX2" fmla="*/ 10000 w 10007"/>
              <a:gd name="connsiteY2" fmla="*/ 6814 h 9168"/>
              <a:gd name="connsiteX3" fmla="*/ 10006 w 10007"/>
              <a:gd name="connsiteY3" fmla="*/ 105 h 9168"/>
              <a:gd name="connsiteX4" fmla="*/ 30 w 10007"/>
              <a:gd name="connsiteY4" fmla="*/ 0 h 9168"/>
              <a:gd name="connsiteX0" fmla="*/ 0 w 10005"/>
              <a:gd name="connsiteY0" fmla="*/ 422 h 9885"/>
              <a:gd name="connsiteX1" fmla="*/ 5 w 10005"/>
              <a:gd name="connsiteY1" fmla="*/ 9885 h 9885"/>
              <a:gd name="connsiteX2" fmla="*/ 9998 w 10005"/>
              <a:gd name="connsiteY2" fmla="*/ 7317 h 9885"/>
              <a:gd name="connsiteX3" fmla="*/ 10004 w 10005"/>
              <a:gd name="connsiteY3" fmla="*/ 0 h 9885"/>
              <a:gd name="connsiteX4" fmla="*/ 0 w 10005"/>
              <a:gd name="connsiteY4" fmla="*/ 422 h 9885"/>
              <a:gd name="connsiteX0" fmla="*/ 0 w 10017"/>
              <a:gd name="connsiteY0" fmla="*/ 13 h 9586"/>
              <a:gd name="connsiteX1" fmla="*/ 5 w 10017"/>
              <a:gd name="connsiteY1" fmla="*/ 9586 h 9586"/>
              <a:gd name="connsiteX2" fmla="*/ 9993 w 10017"/>
              <a:gd name="connsiteY2" fmla="*/ 6988 h 9586"/>
              <a:gd name="connsiteX3" fmla="*/ 10017 w 10017"/>
              <a:gd name="connsiteY3" fmla="*/ 0 h 9586"/>
              <a:gd name="connsiteX4" fmla="*/ 0 w 10017"/>
              <a:gd name="connsiteY4" fmla="*/ 13 h 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7" h="9586">
                <a:moveTo>
                  <a:pt x="0" y="13"/>
                </a:moveTo>
                <a:cubicBezTo>
                  <a:pt x="-2" y="2936"/>
                  <a:pt x="7" y="6665"/>
                  <a:pt x="5" y="9586"/>
                </a:cubicBezTo>
                <a:lnTo>
                  <a:pt x="9993" y="6988"/>
                </a:lnTo>
                <a:cubicBezTo>
                  <a:pt x="9986" y="4158"/>
                  <a:pt x="10024" y="2832"/>
                  <a:pt x="10017" y="0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247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636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45000" cy="6896991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0082" y="6572440"/>
            <a:ext cx="2199641" cy="18376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594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594" baseline="0" dirty="0">
                <a:solidFill>
                  <a:schemeClr val="tx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3 LROD Solution Co., Ltd All right reserved.</a:t>
            </a:r>
            <a:endParaRPr lang="ko-KR" altLang="en-US" sz="594" dirty="0">
              <a:solidFill>
                <a:schemeClr val="tx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9E7718-D83B-AC5E-FB1C-6316FE999657}"/>
              </a:ext>
            </a:extLst>
          </p:cNvPr>
          <p:cNvSpPr txBox="1"/>
          <p:nvPr userDrawn="1"/>
        </p:nvSpPr>
        <p:spPr>
          <a:xfrm>
            <a:off x="674503" y="6177024"/>
            <a:ext cx="2199641" cy="18376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594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594" baseline="0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3 LROD Solution Co., Ltd All right reserved.</a:t>
            </a:r>
            <a:endParaRPr lang="ko-KR" altLang="en-US" sz="594" dirty="0">
              <a:solidFill>
                <a:schemeClr val="bg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E77167A-F09F-C5EF-6020-55DBBE8D69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0663" y="-10226"/>
            <a:ext cx="9965664" cy="69078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FFE67D-3392-FA4E-82FE-C01B3BD050CB}"/>
              </a:ext>
            </a:extLst>
          </p:cNvPr>
          <p:cNvSpPr txBox="1"/>
          <p:nvPr userDrawn="1"/>
        </p:nvSpPr>
        <p:spPr>
          <a:xfrm>
            <a:off x="674503" y="6177024"/>
            <a:ext cx="2199641" cy="18376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594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594" baseline="0" dirty="0">
                <a:solidFill>
                  <a:schemeClr val="bg1"/>
                </a:solidFill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5 LROD Solution Co., Ltd All right reserved.</a:t>
            </a:r>
            <a:endParaRPr lang="ko-KR" altLang="en-US" sz="594" dirty="0">
              <a:solidFill>
                <a:schemeClr val="bg1"/>
              </a:solidFill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4EC3ED8A-FA89-81D8-E323-630254D4A9CA}"/>
              </a:ext>
            </a:extLst>
          </p:cNvPr>
          <p:cNvCxnSpPr>
            <a:cxnSpLocks/>
          </p:cNvCxnSpPr>
          <p:nvPr userDrawn="1"/>
        </p:nvCxnSpPr>
        <p:spPr>
          <a:xfrm>
            <a:off x="725409" y="4086225"/>
            <a:ext cx="4882144" cy="0"/>
          </a:xfrm>
          <a:prstGeom prst="line">
            <a:avLst/>
          </a:prstGeom>
          <a:ln w="28575">
            <a:solidFill>
              <a:srgbClr val="27E3F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907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5748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0585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87066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19D178C0-A64D-75A3-435A-D40F2BB74D85}"/>
              </a:ext>
            </a:extLst>
          </p:cNvPr>
          <p:cNvSpPr/>
          <p:nvPr userDrawn="1"/>
        </p:nvSpPr>
        <p:spPr>
          <a:xfrm>
            <a:off x="0" y="0"/>
            <a:ext cx="9901125" cy="108000"/>
          </a:xfrm>
          <a:prstGeom prst="rect">
            <a:avLst/>
          </a:prstGeom>
          <a:solidFill>
            <a:srgbClr val="005E64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 dirty="0">
              <a:ln>
                <a:solidFill>
                  <a:srgbClr val="002060"/>
                </a:solidFill>
              </a:ln>
              <a:solidFill>
                <a:srgbClr val="00206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59845E-672F-B4E1-C408-908E57B2FED5}"/>
              </a:ext>
            </a:extLst>
          </p:cNvPr>
          <p:cNvSpPr txBox="1"/>
          <p:nvPr userDrawn="1"/>
        </p:nvSpPr>
        <p:spPr>
          <a:xfrm>
            <a:off x="7163314" y="6574439"/>
            <a:ext cx="2651688" cy="20480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ko-KR" sz="731" dirty="0">
                <a:latin typeface="나눔고딕 Bold" panose="020D0304000000000000" pitchFamily="50" charset="-127"/>
                <a:ea typeface="나눔고딕 Bold" panose="020D0304000000000000" pitchFamily="50" charset="-127"/>
              </a:rPr>
              <a:t>Copyright</a:t>
            </a:r>
            <a:r>
              <a:rPr lang="en-US" altLang="ko-KR" sz="731" baseline="0" dirty="0">
                <a:latin typeface="나눔고딕 Bold" panose="020D0304000000000000" pitchFamily="50" charset="-127"/>
                <a:ea typeface="나눔고딕 Bold" panose="020D0304000000000000" pitchFamily="50" charset="-127"/>
              </a:rPr>
              <a:t> 2024 LROD Solution Co., Ltd All right reserved.</a:t>
            </a:r>
            <a:endParaRPr lang="ko-KR" altLang="en-US" sz="731" dirty="0">
              <a:latin typeface="나눔고딕 Bold" panose="020D0304000000000000" pitchFamily="50" charset="-127"/>
              <a:ea typeface="나눔고딕 Bold" panose="020D0304000000000000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46A3509-3A37-7F6D-D897-86D7FDDFB0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2" y="6561423"/>
            <a:ext cx="941092" cy="18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47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</p:sldLayoutIdLst>
  <p:hf hdr="0" ftr="0" dt="0"/>
  <p:txStyles>
    <p:titleStyle>
      <a:lvl1pPr algn="l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94558C7B-C299-399E-F2D8-02FC7624B4C9}"/>
              </a:ext>
            </a:extLst>
          </p:cNvPr>
          <p:cNvSpPr/>
          <p:nvPr userDrawn="1"/>
        </p:nvSpPr>
        <p:spPr>
          <a:xfrm>
            <a:off x="0" y="6497641"/>
            <a:ext cx="9906000" cy="360361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2925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325"/>
              </a:spcBef>
              <a:buClr>
                <a:srgbClr val="646464"/>
              </a:buClr>
              <a:buSzPct val="90000"/>
            </a:pPr>
            <a:endParaRPr lang="ko-KR" altLang="en-US" sz="195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3555953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ine 23"/>
          <p:cNvSpPr>
            <a:spLocks noChangeShapeType="1"/>
          </p:cNvSpPr>
          <p:nvPr/>
        </p:nvSpPr>
        <p:spPr bwMode="auto">
          <a:xfrm>
            <a:off x="273051" y="668339"/>
            <a:ext cx="9359900" cy="0"/>
          </a:xfrm>
          <a:prstGeom prst="line">
            <a:avLst/>
          </a:prstGeom>
          <a:ln w="38100">
            <a:solidFill>
              <a:srgbClr val="34BEE8"/>
            </a:solidFill>
            <a:headEnd/>
            <a:tailEnd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wrap="none" anchor="ctr"/>
          <a:lstStyle/>
          <a:p>
            <a:pPr fontAlgn="base" latin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ko-KR" altLang="en-US" sz="1247" dirty="0">
              <a:solidFill>
                <a:srgbClr val="646464"/>
              </a:solidFill>
              <a:latin typeface="맑은 고딕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6C926B-439B-FA5B-F8B7-FFBEB455318E}"/>
              </a:ext>
            </a:extLst>
          </p:cNvPr>
          <p:cNvSpPr txBox="1"/>
          <p:nvPr userDrawn="1"/>
        </p:nvSpPr>
        <p:spPr>
          <a:xfrm>
            <a:off x="102744" y="6522653"/>
            <a:ext cx="3013519" cy="31629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/>
            <a:r>
              <a:rPr lang="ko-KR" altLang="en-US" sz="867" b="1" dirty="0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㈜</a:t>
            </a:r>
            <a:r>
              <a:rPr lang="en-US" altLang="ko-KR" sz="867" b="1" dirty="0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 </a:t>
            </a:r>
            <a:r>
              <a:rPr lang="ko-KR" altLang="en-US" sz="867" b="1" dirty="0" err="1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엘로드솔루션</a:t>
            </a:r>
            <a:r>
              <a:rPr lang="en-US" altLang="ko-KR" sz="867" b="1" dirty="0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 LROD</a:t>
            </a:r>
            <a:r>
              <a:rPr lang="ko-KR" altLang="en-US" sz="867" b="1" dirty="0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 </a:t>
            </a:r>
            <a:r>
              <a:rPr lang="en-US" altLang="ko-KR" sz="867" b="1" dirty="0">
                <a:solidFill>
                  <a:schemeClr val="accent1">
                    <a:lumMod val="50000"/>
                  </a:schemeClr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Solution </a:t>
            </a:r>
            <a:r>
              <a:rPr lang="en-US" altLang="ko-KR" sz="867" b="0" dirty="0">
                <a:solidFill>
                  <a:schemeClr val="tx2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-</a:t>
            </a:r>
            <a:r>
              <a:rPr lang="en-US" altLang="ko-KR" sz="867" b="0" dirty="0"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 </a:t>
            </a:r>
            <a:r>
              <a:rPr lang="en-US" altLang="ko-KR" sz="867" b="0" dirty="0">
                <a:solidFill>
                  <a:srgbClr val="967900"/>
                </a:solidFill>
                <a:latin typeface="나눔스퀘어" panose="020B0600000101010101" pitchFamily="50" charset="-127"/>
                <a:ea typeface="나눔스퀘어" panose="020B0600000101010101" pitchFamily="50" charset="-127"/>
                <a:cs typeface="Aharoni" panose="02010803020104030203" pitchFamily="2" charset="-79"/>
              </a:rPr>
              <a:t>Total Solution Provider!</a:t>
            </a:r>
            <a:endParaRPr lang="ko-KR" altLang="en-US" sz="867" b="0" dirty="0">
              <a:solidFill>
                <a:srgbClr val="967900"/>
              </a:solidFill>
              <a:latin typeface="나눔스퀘어" panose="020B0600000101010101" pitchFamily="50" charset="-127"/>
              <a:ea typeface="나눔스퀘어" panose="020B0600000101010101" pitchFamily="50" charset="-127"/>
              <a:cs typeface="Aharoni" panose="02010803020104030203" pitchFamily="2" charset="-79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300EEB5-90FA-100B-7EE0-F9FA57C9F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49"/>
          <a:stretch/>
        </p:blipFill>
        <p:spPr>
          <a:xfrm>
            <a:off x="8722549" y="6566728"/>
            <a:ext cx="1040704" cy="23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734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</p:sldLayoutIdLst>
  <p:txStyles>
    <p:titleStyle>
      <a:lvl1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  <a:ea typeface="맑은 고딕" pitchFamily="50" charset="-127"/>
        </a:defRPr>
      </a:lvl2pPr>
      <a:lvl3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  <a:ea typeface="맑은 고딕" pitchFamily="50" charset="-127"/>
        </a:defRPr>
      </a:lvl3pPr>
      <a:lvl4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  <a:ea typeface="맑은 고딕" pitchFamily="50" charset="-127"/>
        </a:defRPr>
      </a:lvl4pPr>
      <a:lvl5pPr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  <a:ea typeface="맑은 고딕" pitchFamily="50" charset="-127"/>
        </a:defRPr>
      </a:lvl5pPr>
      <a:lvl6pPr marL="371466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</a:defRPr>
      </a:lvl6pPr>
      <a:lvl7pPr marL="742931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</a:defRPr>
      </a:lvl7pPr>
      <a:lvl8pPr marL="1114397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</a:defRPr>
      </a:lvl8pPr>
      <a:lvl9pPr marL="1485863" algn="l" rtl="0" eaLnBrk="1" fontAlgn="base" latinLnBrk="1" hangingPunct="1">
        <a:lnSpc>
          <a:spcPct val="85000"/>
        </a:lnSpc>
        <a:spcBef>
          <a:spcPct val="0"/>
        </a:spcBef>
        <a:spcAft>
          <a:spcPct val="0"/>
        </a:spcAft>
        <a:defRPr sz="2438" b="1">
          <a:solidFill>
            <a:srgbClr val="646464"/>
          </a:solidFill>
          <a:latin typeface="Arial" charset="0"/>
        </a:defRPr>
      </a:lvl9pPr>
    </p:titleStyle>
    <p:bodyStyle>
      <a:lvl1pPr marL="292788" indent="-29278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950">
          <a:solidFill>
            <a:srgbClr val="646464"/>
          </a:solidFill>
          <a:latin typeface="+mn-lt"/>
          <a:ea typeface="+mn-ea"/>
          <a:cs typeface="+mn-cs"/>
        </a:defRPr>
      </a:lvl1pPr>
      <a:lvl2pPr marL="582996" indent="-28891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625">
          <a:solidFill>
            <a:srgbClr val="646464"/>
          </a:solidFill>
          <a:latin typeface="+mn-lt"/>
          <a:ea typeface="맑은 고딕" pitchFamily="50" charset="-127"/>
        </a:defRPr>
      </a:lvl2pPr>
      <a:lvl3pPr marL="878362" indent="-29407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>
          <a:solidFill>
            <a:srgbClr val="646464"/>
          </a:solidFill>
          <a:latin typeface="+mn-lt"/>
          <a:ea typeface="맑은 고딕" pitchFamily="50" charset="-127"/>
        </a:defRPr>
      </a:lvl3pPr>
      <a:lvl4pPr marL="1171150" indent="-291497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300">
          <a:solidFill>
            <a:srgbClr val="646464"/>
          </a:solidFill>
          <a:latin typeface="+mn-lt"/>
          <a:ea typeface="맑은 고딕" pitchFamily="50" charset="-127"/>
        </a:defRPr>
      </a:lvl4pPr>
      <a:lvl5pPr marL="1462646" indent="-29020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itchFamily="34" charset="0"/>
        <a:buChar char="►"/>
        <a:defRPr sz="1300">
          <a:solidFill>
            <a:srgbClr val="646464"/>
          </a:solidFill>
          <a:latin typeface="+mn-lt"/>
          <a:ea typeface="맑은 고딕" pitchFamily="50" charset="-127"/>
        </a:defRPr>
      </a:lvl5pPr>
      <a:lvl6pPr marL="1834112" indent="-29020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300">
          <a:solidFill>
            <a:srgbClr val="646464"/>
          </a:solidFill>
          <a:latin typeface="+mn-lt"/>
        </a:defRPr>
      </a:lvl6pPr>
      <a:lvl7pPr marL="2205578" indent="-29020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300">
          <a:solidFill>
            <a:srgbClr val="646464"/>
          </a:solidFill>
          <a:latin typeface="+mn-lt"/>
        </a:defRPr>
      </a:lvl7pPr>
      <a:lvl8pPr marL="2577044" indent="-29020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300">
          <a:solidFill>
            <a:srgbClr val="646464"/>
          </a:solidFill>
          <a:latin typeface="+mn-lt"/>
        </a:defRPr>
      </a:lvl8pPr>
      <a:lvl9pPr marL="2948510" indent="-290208" algn="l" rtl="0" eaLnBrk="1" fontAlgn="base" latinLnBrk="1" hangingPunct="1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300">
          <a:solidFill>
            <a:srgbClr val="646464"/>
          </a:solidFill>
          <a:latin typeface="+mn-lt"/>
        </a:defRPr>
      </a:lvl9pPr>
    </p:bodyStyle>
    <p:otherStyle>
      <a:defPPr>
        <a:defRPr lang="ko-KR"/>
      </a:defPPr>
      <a:lvl1pPr marL="0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3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2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861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53" r:id="rId13"/>
  </p:sldLayoutIdLst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21EF14A2-404D-D00C-AEA7-6268D8BFE3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5" t="4768" r="4671" b="7109"/>
          <a:stretch/>
        </p:blipFill>
        <p:spPr>
          <a:xfrm flipH="1">
            <a:off x="-2" y="4735772"/>
            <a:ext cx="3448123" cy="2119963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07886160-CB9B-A603-4403-0F5CD35A1C3A}"/>
              </a:ext>
            </a:extLst>
          </p:cNvPr>
          <p:cNvSpPr/>
          <p:nvPr/>
        </p:nvSpPr>
        <p:spPr>
          <a:xfrm>
            <a:off x="0" y="-15400"/>
            <a:ext cx="9906000" cy="63728"/>
          </a:xfrm>
          <a:prstGeom prst="rect">
            <a:avLst/>
          </a:prstGeom>
          <a:gradFill>
            <a:gsLst>
              <a:gs pos="65000">
                <a:srgbClr val="021861"/>
              </a:gs>
              <a:gs pos="0">
                <a:srgbClr val="3259A8"/>
              </a:gs>
              <a:gs pos="39000">
                <a:srgbClr val="D551AC"/>
              </a:gs>
              <a:gs pos="52000">
                <a:srgbClr val="09AFE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35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63D7E7-F7CA-38E5-F5D3-5AF8E26C8275}"/>
              </a:ext>
            </a:extLst>
          </p:cNvPr>
          <p:cNvSpPr txBox="1"/>
          <p:nvPr/>
        </p:nvSpPr>
        <p:spPr>
          <a:xfrm>
            <a:off x="729894" y="1890901"/>
            <a:ext cx="8446222" cy="779829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나눔스퀘어 Bold" panose="02020603020101020101" pitchFamily="18" charset="-127"/>
                <a:ea typeface="나눔스퀘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algn="ctr" defTabSz="557199" latinLnBrk="0">
              <a:lnSpc>
                <a:spcPct val="110000"/>
              </a:lnSpc>
              <a:defRPr/>
            </a:pPr>
            <a:r>
              <a:rPr lang="ko-KR" altLang="en-US" sz="4800" b="1" kern="0" dirty="0" err="1"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팀배치</a:t>
            </a:r>
            <a:r>
              <a:rPr lang="ko-KR" altLang="en-US" sz="4800" b="1" kern="0" dirty="0"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업무 프로세스 </a:t>
            </a:r>
            <a:r>
              <a:rPr lang="en-US" altLang="ko-KR" sz="4800" b="1" kern="0" dirty="0"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&amp; </a:t>
            </a:r>
            <a:r>
              <a:rPr lang="ko-KR" altLang="en-US" sz="4800" b="1" kern="0" dirty="0"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모듈설계서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976E7A-A486-7DBF-40A4-869224B9D90D}"/>
              </a:ext>
            </a:extLst>
          </p:cNvPr>
          <p:cNvSpPr txBox="1"/>
          <p:nvPr/>
        </p:nvSpPr>
        <p:spPr>
          <a:xfrm>
            <a:off x="8500942" y="6226254"/>
            <a:ext cx="945772" cy="225126"/>
          </a:xfrm>
          <a:prstGeom prst="rect">
            <a:avLst/>
          </a:prstGeom>
          <a:noFill/>
          <a:ln>
            <a:solidFill>
              <a:sysClr val="window" lastClr="FFFFFF">
                <a:alpha val="0"/>
              </a:sysClr>
            </a:solidFill>
          </a:ln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>
              <a:defRPr sz="3400" b="0" spc="0">
                <a:ln>
                  <a:solidFill>
                    <a:prstClr val="white">
                      <a:alpha val="0"/>
                    </a:prstClr>
                  </a:solidFill>
                </a:ln>
                <a:latin typeface="나눔스퀘어 Bold" panose="02020603020101020101" pitchFamily="18" charset="-127"/>
                <a:ea typeface="나눔스퀘어 Bold" panose="02020603020101020101" pitchFamily="18" charset="-127"/>
                <a:cs typeface="Arial" panose="020B0604020202020204" pitchFamily="34" charset="0"/>
              </a:defRPr>
            </a:lvl1pPr>
          </a:lstStyle>
          <a:p>
            <a:pPr algn="r" defTabSz="557199" latinLnBrk="0">
              <a:defRPr/>
            </a:pPr>
            <a:r>
              <a:rPr lang="en-US" altLang="ko-KR" sz="1463" b="1" kern="0" dirty="0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025.01.28</a:t>
            </a:r>
            <a:endParaRPr lang="ko-KR" altLang="en-US" sz="1463" b="1" kern="0" dirty="0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25BDF7-E343-8657-73E7-D10C48BA3E40}"/>
              </a:ext>
            </a:extLst>
          </p:cNvPr>
          <p:cNvSpPr txBox="1"/>
          <p:nvPr/>
        </p:nvSpPr>
        <p:spPr>
          <a:xfrm>
            <a:off x="3555081" y="4624537"/>
            <a:ext cx="2795839" cy="352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7199" latinLnBrk="0">
              <a:lnSpc>
                <a:spcPct val="110000"/>
              </a:lnSpc>
              <a:defRPr/>
            </a:pP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1. </a:t>
            </a:r>
            <a:r>
              <a:rPr lang="ko-KR" altLang="en-US" sz="1600" kern="0" dirty="0" err="1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팀배치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 업무 프로세스</a:t>
            </a:r>
            <a:endParaRPr lang="en-US" altLang="ko-KR" sz="1600" kern="0" dirty="0">
              <a:solidFill>
                <a:schemeClr val="bg2">
                  <a:lumMod val="25000"/>
                </a:schemeClr>
              </a:solidFill>
              <a:latin typeface="나눔스퀘어라운드 Light" panose="020B0600000101010101" pitchFamily="50" charset="-127"/>
              <a:ea typeface="나눔스퀘어라운드 Light" panose="020B0600000101010101" pitchFamily="50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D33CFF-49B4-625B-1C31-11BAA545C462}"/>
              </a:ext>
            </a:extLst>
          </p:cNvPr>
          <p:cNvSpPr txBox="1"/>
          <p:nvPr/>
        </p:nvSpPr>
        <p:spPr>
          <a:xfrm>
            <a:off x="3555081" y="4963249"/>
            <a:ext cx="2795839" cy="352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7199" latinLnBrk="0">
              <a:lnSpc>
                <a:spcPct val="110000"/>
              </a:lnSpc>
              <a:defRPr/>
            </a:pP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2. 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모듈</a:t>
            </a: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1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번 </a:t>
            </a: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: </a:t>
            </a:r>
            <a:r>
              <a:rPr lang="ko-KR" altLang="en-US" sz="1600" kern="0" dirty="0" err="1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랜덤팀배치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 설계서</a:t>
            </a:r>
            <a:endParaRPr lang="en-US" altLang="ko-KR" sz="1600" kern="0" dirty="0">
              <a:solidFill>
                <a:schemeClr val="bg2">
                  <a:lumMod val="25000"/>
                </a:schemeClr>
              </a:solidFill>
              <a:latin typeface="나눔스퀘어라운드 Light" panose="020B0600000101010101" pitchFamily="50" charset="-127"/>
              <a:ea typeface="나눔스퀘어라운드 Light" panose="020B060000010101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FC35EB-DFCC-49F1-2831-84D3A2050FAF}"/>
              </a:ext>
            </a:extLst>
          </p:cNvPr>
          <p:cNvSpPr txBox="1"/>
          <p:nvPr/>
        </p:nvSpPr>
        <p:spPr>
          <a:xfrm>
            <a:off x="3555080" y="3947300"/>
            <a:ext cx="2795839" cy="6772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7199" latinLnBrk="0">
              <a:lnSpc>
                <a:spcPct val="110000"/>
              </a:lnSpc>
              <a:defRPr/>
            </a:pPr>
            <a:r>
              <a:rPr lang="en-US" altLang="ko-KR" sz="1600" b="1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 </a:t>
            </a:r>
            <a:r>
              <a:rPr lang="en-US" altLang="ko-KR" sz="36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36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Arial" panose="020B0604020202020204" pitchFamily="34" charset="0"/>
              </a:rPr>
              <a:t>목 차 </a:t>
            </a:r>
            <a:r>
              <a:rPr lang="en-US" altLang="ko-KR" sz="3600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bg2">
                    <a:lumMod val="25000"/>
                  </a:schemeClr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cs typeface="Arial" panose="020B0604020202020204" pitchFamily="34" charset="0"/>
              </a:rPr>
              <a:t>-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8E66DC-D14C-0497-6394-FF58117F1AB6}"/>
              </a:ext>
            </a:extLst>
          </p:cNvPr>
          <p:cNvSpPr txBox="1"/>
          <p:nvPr/>
        </p:nvSpPr>
        <p:spPr>
          <a:xfrm>
            <a:off x="3555081" y="5325031"/>
            <a:ext cx="2795839" cy="352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7199" latinLnBrk="0">
              <a:lnSpc>
                <a:spcPct val="110000"/>
              </a:lnSpc>
              <a:defRPr/>
            </a:pP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2. 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모듈</a:t>
            </a: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2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번 </a:t>
            </a:r>
            <a:r>
              <a:rPr lang="en-US" altLang="ko-KR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: </a:t>
            </a:r>
            <a:r>
              <a:rPr lang="ko-KR" altLang="en-US" sz="1600" kern="0" dirty="0">
                <a:solidFill>
                  <a:schemeClr val="bg2">
                    <a:lumMod val="25000"/>
                  </a:schemeClr>
                </a:solidFill>
                <a:latin typeface="나눔스퀘어라운드 Light" panose="020B0600000101010101" pitchFamily="50" charset="-127"/>
                <a:ea typeface="나눔스퀘어라운드 Light" panose="020B0600000101010101" pitchFamily="50" charset="-127"/>
              </a:rPr>
              <a:t>소견서출력 설계서</a:t>
            </a:r>
            <a:endParaRPr lang="en-US" altLang="ko-KR" sz="1600" kern="0" dirty="0">
              <a:solidFill>
                <a:schemeClr val="bg2">
                  <a:lumMod val="25000"/>
                </a:schemeClr>
              </a:solidFill>
              <a:latin typeface="나눔스퀘어라운드 Light" panose="020B0600000101010101" pitchFamily="50" charset="-127"/>
              <a:ea typeface="나눔스퀘어라운드 Light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186987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F6ACFB-5920-DC7D-4011-86DFE319A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>
            <a:extLst>
              <a:ext uri="{FF2B5EF4-FFF2-40B4-BE49-F238E27FC236}">
                <a16:creationId xmlns:a16="http://schemas.microsoft.com/office/drawing/2014/main" id="{AA101E51-FDC3-77A2-36CD-DEAFB9A64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18048"/>
            <a:ext cx="7604916" cy="330908"/>
          </a:xfrm>
        </p:spPr>
        <p:txBody>
          <a:bodyPr/>
          <a:lstStyle/>
          <a:p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맹경도 팀장 투입실적 </a:t>
            </a:r>
            <a:r>
              <a:rPr lang="en-US" altLang="ko-KR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- </a:t>
            </a:r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일정단축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99DCDA98-9213-C314-02C8-3BF09DB4F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4" y="794254"/>
            <a:ext cx="9262851" cy="701731"/>
          </a:xfrm>
        </p:spPr>
        <p:txBody>
          <a:bodyPr/>
          <a:lstStyle/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-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목표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2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월말 개발완료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잔금회수</a:t>
            </a:r>
            <a:endParaRPr lang="en-US" altLang="ko-KR" sz="1800" kern="1200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-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실적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7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일간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4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 프로세스 신규개발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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.23(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목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현재 개발 완료 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 2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월 내 빠른 잔금회수 예상</a:t>
            </a:r>
            <a:endParaRPr lang="en-US" altLang="ko-KR" sz="1800" kern="1200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F877718E-68FA-A867-C85F-2346BD248B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608113"/>
              </p:ext>
            </p:extLst>
          </p:nvPr>
        </p:nvGraphicFramePr>
        <p:xfrm>
          <a:off x="426342" y="4627877"/>
          <a:ext cx="9153593" cy="1601641"/>
        </p:xfrm>
        <a:graphic>
          <a:graphicData uri="http://schemas.openxmlformats.org/drawingml/2006/table">
            <a:tbl>
              <a:tblPr/>
              <a:tblGrid>
                <a:gridCol w="2037461">
                  <a:extLst>
                    <a:ext uri="{9D8B030D-6E8A-4147-A177-3AD203B41FA5}">
                      <a16:colId xmlns:a16="http://schemas.microsoft.com/office/drawing/2014/main" val="129491746"/>
                    </a:ext>
                  </a:extLst>
                </a:gridCol>
                <a:gridCol w="2422522">
                  <a:extLst>
                    <a:ext uri="{9D8B030D-6E8A-4147-A177-3AD203B41FA5}">
                      <a16:colId xmlns:a16="http://schemas.microsoft.com/office/drawing/2014/main" val="1108087480"/>
                    </a:ext>
                  </a:extLst>
                </a:gridCol>
                <a:gridCol w="720098">
                  <a:extLst>
                    <a:ext uri="{9D8B030D-6E8A-4147-A177-3AD203B41FA5}">
                      <a16:colId xmlns:a16="http://schemas.microsoft.com/office/drawing/2014/main" val="3500492318"/>
                    </a:ext>
                  </a:extLst>
                </a:gridCol>
                <a:gridCol w="510329">
                  <a:extLst>
                    <a:ext uri="{9D8B030D-6E8A-4147-A177-3AD203B41FA5}">
                      <a16:colId xmlns:a16="http://schemas.microsoft.com/office/drawing/2014/main" val="2565903316"/>
                    </a:ext>
                  </a:extLst>
                </a:gridCol>
                <a:gridCol w="299627">
                  <a:extLst>
                    <a:ext uri="{9D8B030D-6E8A-4147-A177-3AD203B41FA5}">
                      <a16:colId xmlns:a16="http://schemas.microsoft.com/office/drawing/2014/main" val="539641694"/>
                    </a:ext>
                  </a:extLst>
                </a:gridCol>
                <a:gridCol w="397005">
                  <a:extLst>
                    <a:ext uri="{9D8B030D-6E8A-4147-A177-3AD203B41FA5}">
                      <a16:colId xmlns:a16="http://schemas.microsoft.com/office/drawing/2014/main" val="2066979439"/>
                    </a:ext>
                  </a:extLst>
                </a:gridCol>
                <a:gridCol w="848942">
                  <a:extLst>
                    <a:ext uri="{9D8B030D-6E8A-4147-A177-3AD203B41FA5}">
                      <a16:colId xmlns:a16="http://schemas.microsoft.com/office/drawing/2014/main" val="2072751303"/>
                    </a:ext>
                  </a:extLst>
                </a:gridCol>
                <a:gridCol w="496797">
                  <a:extLst>
                    <a:ext uri="{9D8B030D-6E8A-4147-A177-3AD203B41FA5}">
                      <a16:colId xmlns:a16="http://schemas.microsoft.com/office/drawing/2014/main" val="1807669348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635258785"/>
                    </a:ext>
                  </a:extLst>
                </a:gridCol>
                <a:gridCol w="858837">
                  <a:extLst>
                    <a:ext uri="{9D8B030D-6E8A-4147-A177-3AD203B41FA5}">
                      <a16:colId xmlns:a16="http://schemas.microsoft.com/office/drawing/2014/main" val="2473170904"/>
                    </a:ext>
                  </a:extLst>
                </a:gridCol>
              </a:tblGrid>
              <a:tr h="27290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</a:t>
                      </a:r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</a:t>
                      </a:r>
                      <a:b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kumimoji="0" lang="ko-KR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업무 담당자</a:t>
                      </a:r>
                      <a:endParaRPr lang="ko-KR" altLang="en-US" dirty="0"/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</a:t>
                      </a:r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endParaRPr lang="en-US" altLang="ko-KR" sz="8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작일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b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종료일</a:t>
                      </a: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업무절감효과예상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535" marR="90535" marT="45267" marB="45267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411610"/>
                  </a:ext>
                </a:extLst>
              </a:tr>
              <a:tr h="18365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</a:t>
                      </a:r>
                    </a:p>
                  </a:txBody>
                  <a:tcPr marL="8020" marR="8020" marT="72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위</a:t>
                      </a:r>
                    </a:p>
                  </a:txBody>
                  <a:tcPr marL="8020" marR="8020" marT="729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명</a:t>
                      </a:r>
                    </a:p>
                  </a:txBody>
                  <a:tcPr marL="8020" marR="8020" marT="729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197045"/>
                  </a:ext>
                </a:extLst>
              </a:tr>
              <a:tr h="28761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102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출금정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1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Settle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운로드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4(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0(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간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1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간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약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50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020" marR="8020" marT="7291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82649"/>
                  </a:ext>
                </a:extLst>
              </a:tr>
              <a:tr h="2876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2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웰컴저축은행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운로드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7(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8020" marR="8020" marT="7291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919055"/>
                  </a:ext>
                </a:extLst>
              </a:tr>
              <a:tr h="2876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12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웰컴저축은행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수집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7(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8020" marR="8020" marT="7291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854506"/>
                  </a:ext>
                </a:extLst>
              </a:tr>
              <a:tr h="28224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3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금일보작성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8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4(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8020" marR="8020" marT="7291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312214"/>
                  </a:ext>
                </a:extLst>
              </a:tr>
            </a:tbl>
          </a:graphicData>
        </a:graphic>
      </p:graphicFrame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FF48AAEE-222C-53FD-D7F0-9AD781AF1C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84088"/>
              </p:ext>
            </p:extLst>
          </p:nvPr>
        </p:nvGraphicFramePr>
        <p:xfrm>
          <a:off x="426342" y="1645592"/>
          <a:ext cx="9119295" cy="1253269"/>
        </p:xfrm>
        <a:graphic>
          <a:graphicData uri="http://schemas.openxmlformats.org/drawingml/2006/table">
            <a:tbl>
              <a:tblPr/>
              <a:tblGrid>
                <a:gridCol w="1823859">
                  <a:extLst>
                    <a:ext uri="{9D8B030D-6E8A-4147-A177-3AD203B41FA5}">
                      <a16:colId xmlns:a16="http://schemas.microsoft.com/office/drawing/2014/main" val="1771005350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1451827712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3707774658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1423784908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3788203077"/>
                    </a:ext>
                  </a:extLst>
                </a:gridCol>
              </a:tblGrid>
              <a:tr h="29208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3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4 (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- 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방문</a:t>
                      </a: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5 (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</a:t>
                      </a: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- 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방문</a:t>
                      </a: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6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7 (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- 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방문</a:t>
                      </a: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009587"/>
                  </a:ext>
                </a:extLst>
              </a:tr>
              <a:tr h="961180"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232780"/>
                  </a:ext>
                </a:extLst>
              </a:tr>
            </a:tbl>
          </a:graphicData>
        </a:graphic>
      </p:graphicFrame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F35A1FD5-DAA0-0D72-1088-3590B98D79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149698"/>
              </p:ext>
            </p:extLst>
          </p:nvPr>
        </p:nvGraphicFramePr>
        <p:xfrm>
          <a:off x="426342" y="2897615"/>
          <a:ext cx="9119295" cy="1253269"/>
        </p:xfrm>
        <a:graphic>
          <a:graphicData uri="http://schemas.openxmlformats.org/drawingml/2006/table">
            <a:tbl>
              <a:tblPr/>
              <a:tblGrid>
                <a:gridCol w="1823859">
                  <a:extLst>
                    <a:ext uri="{9D8B030D-6E8A-4147-A177-3AD203B41FA5}">
                      <a16:colId xmlns:a16="http://schemas.microsoft.com/office/drawing/2014/main" val="1771005350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1451827712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3707774658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1423784908"/>
                    </a:ext>
                  </a:extLst>
                </a:gridCol>
                <a:gridCol w="1823859">
                  <a:extLst>
                    <a:ext uri="{9D8B030D-6E8A-4147-A177-3AD203B41FA5}">
                      <a16:colId xmlns:a16="http://schemas.microsoft.com/office/drawing/2014/main" val="3788203077"/>
                    </a:ext>
                  </a:extLst>
                </a:gridCol>
              </a:tblGrid>
              <a:tr h="29208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0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 (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– 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방문</a:t>
                      </a: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2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수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3 (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4 (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- </a:t>
                      </a:r>
                      <a:r>
                        <a:rPr lang="ko-KR" alt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방문</a:t>
                      </a: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009587"/>
                  </a:ext>
                </a:extLst>
              </a:tr>
              <a:tr h="961180"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115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232780"/>
                  </a:ext>
                </a:extLst>
              </a:tr>
            </a:tbl>
          </a:graphicData>
        </a:graphic>
      </p:graphicFrame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61D542DC-DA08-C3F9-C3AA-7D646D48D705}"/>
              </a:ext>
            </a:extLst>
          </p:cNvPr>
          <p:cNvSpPr txBox="1">
            <a:spLocks/>
          </p:cNvSpPr>
          <p:nvPr/>
        </p:nvSpPr>
        <p:spPr>
          <a:xfrm>
            <a:off x="282787" y="4160409"/>
            <a:ext cx="926285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74293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Tx/>
              <a:buNone/>
              <a:tabLst/>
              <a:defRPr sz="1300" b="1" spc="-41" baseline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217978" indent="-175415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300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438739" indent="-175496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138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658109" indent="-175496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1138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877478" indent="-175496" algn="l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►"/>
              <a:defRPr sz="975" b="1" baseline="0">
                <a:solidFill>
                  <a:schemeClr val="tx2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1834112" indent="-29020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300">
                <a:solidFill>
                  <a:srgbClr val="646464"/>
                </a:solidFill>
                <a:latin typeface="+mn-lt"/>
              </a:defRPr>
            </a:lvl6pPr>
            <a:lvl7pPr marL="2205578" indent="-29020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300">
                <a:solidFill>
                  <a:srgbClr val="646464"/>
                </a:solidFill>
                <a:latin typeface="+mn-lt"/>
              </a:defRPr>
            </a:lvl7pPr>
            <a:lvl8pPr marL="2577044" indent="-29020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300">
                <a:solidFill>
                  <a:srgbClr val="646464"/>
                </a:solidFill>
                <a:latin typeface="+mn-lt"/>
              </a:defRPr>
            </a:lvl8pPr>
            <a:lvl9pPr marL="2948510" indent="-290208" algn="l" rtl="0" eaLnBrk="1" fontAlgn="base" latinLnBrk="1" hangingPunct="1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300">
                <a:solidFill>
                  <a:srgbClr val="646464"/>
                </a:solidFill>
                <a:latin typeface="+mn-lt"/>
              </a:defRPr>
            </a:lvl9pPr>
          </a:lstStyle>
          <a:p>
            <a:pPr algn="r"/>
            <a:r>
              <a:rPr lang="en-US" altLang="ko-KR" sz="1200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* </a:t>
            </a:r>
            <a:r>
              <a:rPr lang="ko-KR" altLang="en-US" sz="1200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설 연휴 기간동안 운영이관 테스트</a:t>
            </a:r>
            <a:r>
              <a:rPr lang="en-US" altLang="ko-KR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en-US" altLang="ko-KR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  <a:sym typeface="Wingdings" panose="05000000000000000000" pitchFamily="2" charset="2"/>
              </a:rPr>
              <a:t></a:t>
            </a:r>
            <a:r>
              <a:rPr lang="en-US" altLang="ko-KR" sz="1200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1/31(</a:t>
            </a:r>
            <a:r>
              <a:rPr lang="ko-KR" altLang="en-US" sz="1200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금</a:t>
            </a:r>
            <a:r>
              <a:rPr lang="en-US" altLang="ko-KR" sz="1200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 : </a:t>
            </a:r>
            <a:r>
              <a:rPr lang="ko-KR" altLang="en-US" sz="1200" kern="1200" dirty="0">
                <a:solidFill>
                  <a:srgbClr val="11111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신규 구축된 자동화 프로세스 </a:t>
            </a:r>
            <a:r>
              <a:rPr lang="en-US" altLang="ko-KR" sz="1200" dirty="0">
                <a:solidFill>
                  <a:srgbClr val="11111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4</a:t>
            </a:r>
            <a:r>
              <a:rPr lang="ko-KR" altLang="en-US" sz="1200" dirty="0">
                <a:solidFill>
                  <a:srgbClr val="11111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건에 대하여</a:t>
            </a:r>
            <a:r>
              <a:rPr lang="en-US" altLang="ko-KR" sz="1200" dirty="0">
                <a:solidFill>
                  <a:srgbClr val="11111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, </a:t>
            </a:r>
            <a:r>
              <a:rPr lang="en-US" altLang="ko-KR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</a:t>
            </a:r>
            <a:r>
              <a:rPr lang="ko-KR" altLang="en-US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설계서 </a:t>
            </a:r>
            <a:r>
              <a:rPr lang="en-US" altLang="ko-KR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</a:t>
            </a:r>
            <a:r>
              <a:rPr lang="ko-KR" altLang="en-US" sz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업무매뉴얼 교부예정</a:t>
            </a:r>
            <a:endParaRPr lang="en-US" altLang="ko-KR" sz="1200" kern="1200" dirty="0">
              <a:solidFill>
                <a:srgbClr val="FF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75A4B795-91C5-8D90-DB70-320A95941244}"/>
              </a:ext>
            </a:extLst>
          </p:cNvPr>
          <p:cNvSpPr/>
          <p:nvPr/>
        </p:nvSpPr>
        <p:spPr>
          <a:xfrm>
            <a:off x="590550" y="2028128"/>
            <a:ext cx="3400425" cy="345758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맹경도 팀장 투입 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/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상황 파악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5557767-F421-7870-01EF-FA8188291547}"/>
              </a:ext>
            </a:extLst>
          </p:cNvPr>
          <p:cNvSpPr/>
          <p:nvPr/>
        </p:nvSpPr>
        <p:spPr>
          <a:xfrm>
            <a:off x="2290762" y="2465032"/>
            <a:ext cx="1700213" cy="345758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현장 방문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5E3987A7-8AAC-A887-A5DF-E4B5D081ACF2}"/>
              </a:ext>
            </a:extLst>
          </p:cNvPr>
          <p:cNvSpPr/>
          <p:nvPr/>
        </p:nvSpPr>
        <p:spPr>
          <a:xfrm>
            <a:off x="4135882" y="2027121"/>
            <a:ext cx="5312469" cy="345758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1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개발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F2C7C207-EFC8-AE08-9AA3-F67AB04697E7}"/>
              </a:ext>
            </a:extLst>
          </p:cNvPr>
          <p:cNvSpPr/>
          <p:nvPr/>
        </p:nvSpPr>
        <p:spPr>
          <a:xfrm>
            <a:off x="7210426" y="2474182"/>
            <a:ext cx="2240658" cy="345758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 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2/3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분석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B82B691A-4B01-833A-6AD9-78F672FABECE}"/>
              </a:ext>
            </a:extLst>
          </p:cNvPr>
          <p:cNvSpPr/>
          <p:nvPr/>
        </p:nvSpPr>
        <p:spPr>
          <a:xfrm>
            <a:off x="504823" y="3284658"/>
            <a:ext cx="3486149" cy="345758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2/3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개발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93C7A5C-5BF4-27EB-5EAE-45CA4E99F7CF}"/>
              </a:ext>
            </a:extLst>
          </p:cNvPr>
          <p:cNvSpPr/>
          <p:nvPr/>
        </p:nvSpPr>
        <p:spPr>
          <a:xfrm>
            <a:off x="4135882" y="2465032"/>
            <a:ext cx="1700213" cy="345758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실무진 접촉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BBA4C681-3E3D-89CA-7628-54635A2A42BA}"/>
              </a:ext>
            </a:extLst>
          </p:cNvPr>
          <p:cNvSpPr/>
          <p:nvPr/>
        </p:nvSpPr>
        <p:spPr>
          <a:xfrm>
            <a:off x="4171953" y="3714185"/>
            <a:ext cx="3486149" cy="345758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4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개발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7E234D39-1388-BE55-EABA-2FF20348DF43}"/>
              </a:ext>
            </a:extLst>
          </p:cNvPr>
          <p:cNvSpPr/>
          <p:nvPr/>
        </p:nvSpPr>
        <p:spPr>
          <a:xfrm>
            <a:off x="7801657" y="3269278"/>
            <a:ext cx="1646694" cy="799016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총 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개 프로세스</a:t>
            </a:r>
            <a:endParaRPr lang="en-US" altLang="ko-KR" sz="1600" b="1" kern="0" dirty="0">
              <a:solidFill>
                <a:srgbClr val="FFFFFF"/>
              </a:solidFill>
              <a:cs typeface="Arial" pitchFamily="34" charset="0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운영이관 목표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30C663FE-D4C6-7454-3D14-5333B2489B45}"/>
              </a:ext>
            </a:extLst>
          </p:cNvPr>
          <p:cNvSpPr/>
          <p:nvPr/>
        </p:nvSpPr>
        <p:spPr>
          <a:xfrm>
            <a:off x="2340421" y="3714185"/>
            <a:ext cx="1646695" cy="345758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4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분석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6EFABF-68CD-2BC1-F046-026E4F3C86C0}"/>
              </a:ext>
            </a:extLst>
          </p:cNvPr>
          <p:cNvSpPr/>
          <p:nvPr/>
        </p:nvSpPr>
        <p:spPr>
          <a:xfrm>
            <a:off x="4171953" y="3284658"/>
            <a:ext cx="3486149" cy="345758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프로세스</a:t>
            </a:r>
            <a:r>
              <a:rPr lang="en-US" altLang="ko-KR" sz="1600" b="1" kern="0" dirty="0">
                <a:solidFill>
                  <a:srgbClr val="FFFFFF"/>
                </a:solidFill>
                <a:cs typeface="Arial" pitchFamily="34" charset="0"/>
              </a:rPr>
              <a:t>1/2/3 </a:t>
            </a:r>
            <a:r>
              <a:rPr lang="ko-KR" altLang="en-US" sz="1600" b="1" kern="0" dirty="0">
                <a:solidFill>
                  <a:srgbClr val="FFFFFF"/>
                </a:solidFill>
                <a:cs typeface="Arial" pitchFamily="34" charset="0"/>
              </a:rPr>
              <a:t>고도화</a:t>
            </a:r>
          </a:p>
        </p:txBody>
      </p:sp>
    </p:spTree>
    <p:extLst>
      <p:ext uri="{BB962C8B-B14F-4D97-AF65-F5344CB8AC3E}">
        <p14:creationId xmlns:p14="http://schemas.microsoft.com/office/powerpoint/2010/main" val="4270547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43450C-C839-C273-9763-17E6DF7FE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316A0588-1C19-8800-AA6D-16E4042864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3" y="801579"/>
            <a:ext cx="9273483" cy="701731"/>
          </a:xfrm>
        </p:spPr>
        <p:txBody>
          <a:bodyPr wrap="square">
            <a:spAutoFit/>
          </a:bodyPr>
          <a:lstStyle/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기술적 이슈가 예상되는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“MTO”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프로세스 </a:t>
            </a:r>
            <a:r>
              <a:rPr lang="en-US" altLang="ko-KR" sz="1800" u="sng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4</a:t>
            </a:r>
            <a:r>
              <a:rPr lang="ko-KR" altLang="en-US" sz="1800" u="sng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건을 </a:t>
            </a:r>
            <a:r>
              <a:rPr lang="en-US" altLang="ko-KR" sz="1800" u="sng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DROP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,</a:t>
            </a:r>
          </a:p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신규업무 개발 </a:t>
            </a:r>
            <a:r>
              <a:rPr lang="ko-KR" altLang="en-US" sz="1800" kern="1200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요청건인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“</a:t>
            </a:r>
            <a:r>
              <a:rPr lang="ko-KR" altLang="en-US" sz="1800" kern="1200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고객예수금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입출금정리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”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프로세스 </a:t>
            </a:r>
            <a:r>
              <a:rPr lang="en-US" altLang="ko-KR" sz="1800" u="sng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4</a:t>
            </a:r>
            <a:r>
              <a:rPr lang="ko-KR" altLang="en-US" sz="1800" u="sng" kern="1200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건을 신규 적용</a:t>
            </a:r>
            <a:endParaRPr lang="en-US" altLang="ko-KR" sz="1800" kern="1200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EDC2E4F1-A528-ED8F-7B57-13CFF09AD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06829"/>
            <a:ext cx="7604916" cy="330907"/>
          </a:xfrm>
        </p:spPr>
        <p:txBody>
          <a:bodyPr/>
          <a:lstStyle/>
          <a:p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맹경도 팀장 투입실적 </a:t>
            </a:r>
            <a:r>
              <a:rPr lang="en-US" altLang="ko-KR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– </a:t>
            </a:r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기술적 관점</a:t>
            </a:r>
            <a:endParaRPr lang="ko-KR" altLang="en-US" sz="1800" dirty="0">
              <a:solidFill>
                <a:schemeClr val="accent6">
                  <a:lumMod val="75000"/>
                </a:schemeClr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4B1D4F05-05C8-16EB-B879-BEAC0B6E8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8558943"/>
              </p:ext>
            </p:extLst>
          </p:nvPr>
        </p:nvGraphicFramePr>
        <p:xfrm>
          <a:off x="384945" y="1579513"/>
          <a:ext cx="9251848" cy="4694290"/>
        </p:xfrm>
        <a:graphic>
          <a:graphicData uri="http://schemas.openxmlformats.org/drawingml/2006/table">
            <a:tbl>
              <a:tblPr/>
              <a:tblGrid>
                <a:gridCol w="2043930">
                  <a:extLst>
                    <a:ext uri="{9D8B030D-6E8A-4147-A177-3AD203B41FA5}">
                      <a16:colId xmlns:a16="http://schemas.microsoft.com/office/drawing/2014/main" val="4074041280"/>
                    </a:ext>
                  </a:extLst>
                </a:gridCol>
                <a:gridCol w="2886075">
                  <a:extLst>
                    <a:ext uri="{9D8B030D-6E8A-4147-A177-3AD203B41FA5}">
                      <a16:colId xmlns:a16="http://schemas.microsoft.com/office/drawing/2014/main" val="4210681208"/>
                    </a:ext>
                  </a:extLst>
                </a:gridCol>
                <a:gridCol w="754931">
                  <a:extLst>
                    <a:ext uri="{9D8B030D-6E8A-4147-A177-3AD203B41FA5}">
                      <a16:colId xmlns:a16="http://schemas.microsoft.com/office/drawing/2014/main" val="610404821"/>
                    </a:ext>
                  </a:extLst>
                </a:gridCol>
                <a:gridCol w="616669">
                  <a:extLst>
                    <a:ext uri="{9D8B030D-6E8A-4147-A177-3AD203B41FA5}">
                      <a16:colId xmlns:a16="http://schemas.microsoft.com/office/drawing/2014/main" val="2885806174"/>
                    </a:ext>
                  </a:extLst>
                </a:gridCol>
                <a:gridCol w="342900">
                  <a:extLst>
                    <a:ext uri="{9D8B030D-6E8A-4147-A177-3AD203B41FA5}">
                      <a16:colId xmlns:a16="http://schemas.microsoft.com/office/drawing/2014/main" val="365282083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229766645"/>
                    </a:ext>
                  </a:extLst>
                </a:gridCol>
                <a:gridCol w="696341">
                  <a:extLst>
                    <a:ext uri="{9D8B030D-6E8A-4147-A177-3AD203B41FA5}">
                      <a16:colId xmlns:a16="http://schemas.microsoft.com/office/drawing/2014/main" val="566211512"/>
                    </a:ext>
                  </a:extLst>
                </a:gridCol>
                <a:gridCol w="707851">
                  <a:extLst>
                    <a:ext uri="{9D8B030D-6E8A-4147-A177-3AD203B41FA5}">
                      <a16:colId xmlns:a16="http://schemas.microsoft.com/office/drawing/2014/main" val="533615836"/>
                    </a:ext>
                  </a:extLst>
                </a:gridCol>
                <a:gridCol w="707851">
                  <a:extLst>
                    <a:ext uri="{9D8B030D-6E8A-4147-A177-3AD203B41FA5}">
                      <a16:colId xmlns:a16="http://schemas.microsoft.com/office/drawing/2014/main" val="3031753622"/>
                    </a:ext>
                  </a:extLst>
                </a:gridCol>
              </a:tblGrid>
              <a:tr h="23978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</a:t>
                      </a:r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세스</a:t>
                      </a: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D</a:t>
                      </a:r>
                    </a:p>
                  </a:txBody>
                  <a:tcPr marL="92354" marR="92354" marT="50292" marB="5029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2354" marR="92354" marT="50292" marB="5029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당시 업무담당자</a:t>
                      </a:r>
                    </a:p>
                  </a:txBody>
                  <a:tcPr marL="92354" marR="92354" marT="50292" marB="5029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자</a:t>
                      </a:r>
                    </a:p>
                  </a:txBody>
                  <a:tcPr marL="92354" marR="92354" marT="50292" marB="5029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b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ART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</a:t>
                      </a:r>
                      <a:br>
                        <a:rPr lang="ko-KR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ND</a:t>
                      </a:r>
                    </a:p>
                  </a:txBody>
                  <a:tcPr marL="92354" marR="92354" marT="50292" marB="5029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8062673"/>
                  </a:ext>
                </a:extLst>
              </a:tr>
              <a:tr h="2774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서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위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성명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156652"/>
                  </a:ext>
                </a:extLst>
              </a:tr>
              <a:tr h="2797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10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불폰일대사및월정산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10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불폰일대사및월정산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명환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우상빈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12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466822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11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데이터수집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명환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우상빈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12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4801723"/>
                  </a:ext>
                </a:extLst>
              </a:tr>
              <a:tr h="27971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102_</a:t>
                      </a:r>
                      <a:r>
                        <a:rPr lang="ko-KR" alt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입출금정리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1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Settle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운로드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4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0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4009819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2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웰컴저축은행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다운로드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7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24002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12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웰컴저축은행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수집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17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379087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10203_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예수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금일보작성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계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주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장 맹경도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/21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1/24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654861"/>
                  </a:ext>
                </a:extLst>
              </a:tr>
              <a:tr h="27971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201_VOC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모니터링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2010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키워드기반모니터링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실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이승우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1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23529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2011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키워드기반모니터링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실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이승우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1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829598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20102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젠데스크음성파일다운로드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실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이승우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12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2449031"/>
                  </a:ext>
                </a:extLst>
              </a:tr>
              <a:tr h="26096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20112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젠데스크음성파일다운로드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실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원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대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이승우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9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12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5392147"/>
                  </a:ext>
                </a:extLst>
              </a:tr>
              <a:tr h="2797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301_MTO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용데이터취합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30101_MTO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산용데이터취합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근애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우상빈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30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/2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5549204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30111_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소스데이터수집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김근애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우상빈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/30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/2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103159"/>
                  </a:ext>
                </a:extLst>
              </a:tr>
              <a:tr h="27971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401_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적집계및보고서작성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--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업담당자 요청으로 업무폐기 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--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과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권영태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692212"/>
                  </a:ext>
                </a:extLst>
              </a:tr>
              <a:tr h="2797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RPA_0501_MTO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잔액확인</a:t>
                      </a:r>
                    </a:p>
                  </a:txBody>
                  <a:tcPr marL="92354" marR="92354" marT="50292" marB="502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50101_MTO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잔액확인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망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석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상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/20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1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230265"/>
                  </a:ext>
                </a:extLst>
              </a:tr>
              <a:tr h="279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_HPRPA_050111_MTO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잔액확인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망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차장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석균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선임 우상빈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/20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1(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금</a:t>
                      </a:r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</a:txBody>
                  <a:tcPr marL="8290" marR="8290" marT="842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252645"/>
                  </a:ext>
                </a:extLst>
              </a:tr>
            </a:tbl>
          </a:graphicData>
        </a:graphic>
      </p:graphicFrame>
      <p:sp>
        <p:nvSpPr>
          <p:cNvPr id="2" name="직사각형 1">
            <a:extLst>
              <a:ext uri="{FF2B5EF4-FFF2-40B4-BE49-F238E27FC236}">
                <a16:creationId xmlns:a16="http://schemas.microsoft.com/office/drawing/2014/main" id="{DD6FD286-12ED-CD6F-8E9D-91D821D4DF4E}"/>
              </a:ext>
            </a:extLst>
          </p:cNvPr>
          <p:cNvSpPr/>
          <p:nvPr/>
        </p:nvSpPr>
        <p:spPr>
          <a:xfrm>
            <a:off x="619125" y="4912016"/>
            <a:ext cx="8901930" cy="1285584"/>
          </a:xfrm>
          <a:prstGeom prst="rect">
            <a:avLst/>
          </a:prstGeom>
          <a:solidFill>
            <a:srgbClr val="111111">
              <a:alpha val="89804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4000" b="1" kern="0" dirty="0">
                <a:solidFill>
                  <a:srgbClr val="FFFFFF"/>
                </a:solidFill>
                <a:cs typeface="Arial" pitchFamily="34" charset="0"/>
              </a:rPr>
              <a:t>기존 </a:t>
            </a:r>
            <a:r>
              <a:rPr lang="en-US" altLang="ko-KR" sz="4000" b="1" kern="0" dirty="0">
                <a:solidFill>
                  <a:srgbClr val="FFFFFF"/>
                </a:solidFill>
                <a:cs typeface="Arial" pitchFamily="34" charset="0"/>
              </a:rPr>
              <a:t>MTO </a:t>
            </a:r>
            <a:r>
              <a:rPr lang="ko-KR" altLang="en-US" sz="4000" b="1" kern="0" dirty="0">
                <a:solidFill>
                  <a:srgbClr val="FFFFFF"/>
                </a:solidFill>
                <a:cs typeface="Arial" pitchFamily="34" charset="0"/>
              </a:rPr>
              <a:t>과제 </a:t>
            </a:r>
            <a:r>
              <a:rPr lang="en-US" altLang="ko-KR" sz="40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r>
              <a:rPr lang="ko-KR" altLang="en-US" sz="4000" b="1" kern="0" dirty="0">
                <a:solidFill>
                  <a:srgbClr val="FFFFFF"/>
                </a:solidFill>
                <a:cs typeface="Arial" pitchFamily="34" charset="0"/>
              </a:rPr>
              <a:t>건 </a:t>
            </a:r>
            <a:r>
              <a:rPr lang="en-US" altLang="ko-KR" sz="4000" b="1" kern="0" dirty="0">
                <a:solidFill>
                  <a:srgbClr val="FFFFFF"/>
                </a:solidFill>
                <a:cs typeface="Arial" pitchFamily="34" charset="0"/>
              </a:rPr>
              <a:t>: DROP</a:t>
            </a:r>
            <a:endParaRPr lang="ko-KR" altLang="en-US" sz="40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D779B294-401E-648F-37C0-A11B93777EEF}"/>
              </a:ext>
            </a:extLst>
          </p:cNvPr>
          <p:cNvSpPr/>
          <p:nvPr/>
        </p:nvSpPr>
        <p:spPr>
          <a:xfrm>
            <a:off x="323641" y="2660764"/>
            <a:ext cx="9373019" cy="1145946"/>
          </a:xfrm>
          <a:prstGeom prst="rect">
            <a:avLst/>
          </a:prstGeom>
          <a:noFill/>
          <a:ln w="57150" algn="ctr">
            <a:solidFill>
              <a:srgbClr val="FF0000"/>
            </a:solidFill>
            <a:miter lim="800000"/>
            <a:headEnd/>
            <a:tailEnd/>
          </a:ln>
          <a:effectLst>
            <a:glow rad="101600">
              <a:srgbClr val="FF0000">
                <a:alpha val="60000"/>
              </a:srgbClr>
            </a:glow>
          </a:effectLst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endParaRPr lang="ko-KR" altLang="en-US" sz="2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05E93E1F-0989-98B0-4F04-7F1052F9CB2F}"/>
              </a:ext>
            </a:extLst>
          </p:cNvPr>
          <p:cNvSpPr/>
          <p:nvPr/>
        </p:nvSpPr>
        <p:spPr>
          <a:xfrm rot="20708157">
            <a:off x="164717" y="2711596"/>
            <a:ext cx="1133475" cy="330907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b="1" kern="0" dirty="0">
                <a:solidFill>
                  <a:srgbClr val="FFFFFF"/>
                </a:solidFill>
                <a:cs typeface="Arial" pitchFamily="34" charset="0"/>
              </a:rPr>
              <a:t>신규 </a:t>
            </a:r>
            <a:r>
              <a:rPr lang="en-US" altLang="ko-KR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r>
              <a:rPr lang="ko-KR" altLang="en-US" b="1" kern="0" dirty="0">
                <a:solidFill>
                  <a:srgbClr val="FFFFFF"/>
                </a:solidFill>
                <a:cs typeface="Arial" pitchFamily="34" charset="0"/>
              </a:rPr>
              <a:t>건</a:t>
            </a:r>
          </a:p>
        </p:txBody>
      </p:sp>
    </p:spTree>
    <p:extLst>
      <p:ext uri="{BB962C8B-B14F-4D97-AF65-F5344CB8AC3E}">
        <p14:creationId xmlns:p14="http://schemas.microsoft.com/office/powerpoint/2010/main" val="1567926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0AE36D-CBEC-1574-A6F9-7C63C5A838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788E047-8C1C-9AA9-A916-AACB06CF26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3" y="801579"/>
            <a:ext cx="9273483" cy="701731"/>
          </a:xfrm>
        </p:spPr>
        <p:txBody>
          <a:bodyPr wrap="square">
            <a:spAutoFit/>
          </a:bodyPr>
          <a:lstStyle/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신한투자증권의 高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OI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과제를 역으로 제안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,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추가계약 여지를 남겨두었음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.</a:t>
            </a:r>
          </a:p>
          <a:p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법무실 과제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: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대외기관 금융거래 정보제공 업무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endParaRPr lang="en-US" altLang="ko-KR" sz="1800" kern="1200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558AD9C6-1D89-510A-8AE0-404E0FFCB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06829"/>
            <a:ext cx="7604916" cy="330907"/>
          </a:xfrm>
        </p:spPr>
        <p:txBody>
          <a:bodyPr/>
          <a:lstStyle/>
          <a:p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맹경도 팀장 투입실적 </a:t>
            </a:r>
            <a:r>
              <a:rPr lang="en-US" altLang="ko-KR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– </a:t>
            </a:r>
            <a:r>
              <a:rPr lang="ko-KR" altLang="en-US" sz="2400" dirty="0">
                <a:solidFill>
                  <a:schemeClr val="accent6">
                    <a:lumMod val="75000"/>
                  </a:schemeClr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업무적 관점</a:t>
            </a:r>
            <a:endParaRPr lang="ko-KR" altLang="en-US" sz="1800" dirty="0">
              <a:solidFill>
                <a:schemeClr val="accent6">
                  <a:lumMod val="75000"/>
                </a:schemeClr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BDEFF09B-2F09-DEB3-1117-342B69D5CA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936" y="1767153"/>
            <a:ext cx="8221178" cy="4386098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40254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BF320F-EA2D-E3C3-2D16-88653F5AD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직사각형 29">
            <a:extLst>
              <a:ext uri="{FF2B5EF4-FFF2-40B4-BE49-F238E27FC236}">
                <a16:creationId xmlns:a16="http://schemas.microsoft.com/office/drawing/2014/main" id="{95F611AF-BF91-D1EA-2D13-2943F5CB5E57}"/>
              </a:ext>
            </a:extLst>
          </p:cNvPr>
          <p:cNvSpPr/>
          <p:nvPr/>
        </p:nvSpPr>
        <p:spPr>
          <a:xfrm>
            <a:off x="1556669" y="2243244"/>
            <a:ext cx="2518766" cy="49187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무상 유지보수 확약 </a:t>
            </a:r>
            <a:r>
              <a:rPr lang="en-US" altLang="ko-KR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- 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발용역제공</a:t>
            </a: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34B4957C-33B0-0CED-7C31-A27E0B6085CE}"/>
              </a:ext>
            </a:extLst>
          </p:cNvPr>
          <p:cNvSpPr/>
          <p:nvPr/>
        </p:nvSpPr>
        <p:spPr>
          <a:xfrm>
            <a:off x="4146410" y="1327256"/>
            <a:ext cx="5181544" cy="1853962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endParaRPr lang="ko-KR" altLang="en-US" sz="2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FC2DC567-3845-556E-D445-BAFE61EC2EE9}"/>
              </a:ext>
            </a:extLst>
          </p:cNvPr>
          <p:cNvSpPr/>
          <p:nvPr/>
        </p:nvSpPr>
        <p:spPr>
          <a:xfrm>
            <a:off x="4146410" y="2762071"/>
            <a:ext cx="2537713" cy="37814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솔루션</a:t>
            </a:r>
            <a:r>
              <a:rPr lang="en-US" altLang="ko-KR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라이선스비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5C28E43F-88CD-61E0-9096-18513A800F27}"/>
              </a:ext>
            </a:extLst>
          </p:cNvPr>
          <p:cNvSpPr/>
          <p:nvPr/>
        </p:nvSpPr>
        <p:spPr>
          <a:xfrm>
            <a:off x="6722473" y="2762071"/>
            <a:ext cx="2537713" cy="37814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솔루션</a:t>
            </a:r>
            <a:r>
              <a:rPr lang="en-US" altLang="ko-KR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라이선스비</a:t>
            </a: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825337A4-E65D-97A9-5957-ED3BB71DB6F8}"/>
              </a:ext>
            </a:extLst>
          </p:cNvPr>
          <p:cNvSpPr/>
          <p:nvPr/>
        </p:nvSpPr>
        <p:spPr>
          <a:xfrm>
            <a:off x="4156778" y="2513933"/>
            <a:ext cx="2525352" cy="22118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유지보수 개발용역비</a:t>
            </a: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0C65A7F5-00E4-6055-6E47-6ACF21BFF4EE}"/>
              </a:ext>
            </a:extLst>
          </p:cNvPr>
          <p:cNvSpPr/>
          <p:nvPr/>
        </p:nvSpPr>
        <p:spPr>
          <a:xfrm>
            <a:off x="6722473" y="2513933"/>
            <a:ext cx="2538659" cy="22118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chemeClr val="bg1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유지보수 개발용역비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0492D1B9-80AE-DF8A-5953-33AAE19BA277}"/>
              </a:ext>
            </a:extLst>
          </p:cNvPr>
          <p:cNvSpPr/>
          <p:nvPr/>
        </p:nvSpPr>
        <p:spPr>
          <a:xfrm>
            <a:off x="1541868" y="2762071"/>
            <a:ext cx="2537713" cy="37814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솔루션</a:t>
            </a:r>
            <a:r>
              <a:rPr lang="en-US" altLang="ko-KR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라이선스비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B116AAA5-EBB6-C5D5-EED4-31476C4ACD1A}"/>
              </a:ext>
            </a:extLst>
          </p:cNvPr>
          <p:cNvSpPr/>
          <p:nvPr/>
        </p:nvSpPr>
        <p:spPr>
          <a:xfrm>
            <a:off x="495166" y="1665968"/>
            <a:ext cx="1011016" cy="106915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구축 </a:t>
            </a:r>
            <a:endParaRPr lang="en-US" altLang="ko-KR" sz="1400" b="1" spc="-41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발용역비</a:t>
            </a:r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1A7AF3B4-265A-6FC8-0199-0A97C96D786C}"/>
              </a:ext>
            </a:extLst>
          </p:cNvPr>
          <p:cNvCxnSpPr>
            <a:cxnSpLocks/>
          </p:cNvCxnSpPr>
          <p:nvPr/>
        </p:nvCxnSpPr>
        <p:spPr bwMode="auto">
          <a:xfrm>
            <a:off x="1515708" y="1671089"/>
            <a:ext cx="0" cy="1753149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30727A37-CA0D-BDEB-A300-EA9B4A6B8E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3" y="800391"/>
            <a:ext cx="9032657" cy="369332"/>
          </a:xfrm>
        </p:spPr>
        <p:txBody>
          <a:bodyPr wrap="square">
            <a:spAutoFit/>
          </a:bodyPr>
          <a:lstStyle/>
          <a:p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솔루션 라이선스비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+ RPA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발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/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유지보수 용역비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=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고객지출비용</a:t>
            </a:r>
            <a:endParaRPr lang="en-US" altLang="ko-KR" sz="1800" kern="1200" dirty="0">
              <a:solidFill>
                <a:schemeClr val="bg1">
                  <a:lumMod val="50000"/>
                </a:schemeClr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7FEF52C5-13A6-52CD-4BDE-03C676D92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06829"/>
            <a:ext cx="7604916" cy="330907"/>
          </a:xfrm>
        </p:spPr>
        <p:txBody>
          <a:bodyPr/>
          <a:lstStyle/>
          <a:p>
            <a:r>
              <a:rPr lang="en-US" altLang="ko-KR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1. </a:t>
            </a:r>
            <a:r>
              <a:rPr lang="ko-KR" altLang="en-US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기간에 따른 </a:t>
            </a:r>
            <a:r>
              <a:rPr lang="en-US" altLang="ko-KR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TCO </a:t>
            </a:r>
            <a:r>
              <a:rPr lang="ko-KR" altLang="en-US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비용지출 구조</a:t>
            </a:r>
            <a:r>
              <a:rPr lang="en-US" altLang="ko-KR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 </a:t>
            </a:r>
            <a:r>
              <a:rPr lang="en-US" altLang="ko-KR" sz="16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(Total Cost of Ownership)</a:t>
            </a:r>
            <a:endParaRPr lang="ko-KR" altLang="en-US" sz="18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cxnSp>
        <p:nvCxnSpPr>
          <p:cNvPr id="3" name="직선 화살표 연결선 2">
            <a:extLst>
              <a:ext uri="{FF2B5EF4-FFF2-40B4-BE49-F238E27FC236}">
                <a16:creationId xmlns:a16="http://schemas.microsoft.com/office/drawing/2014/main" id="{D1FB95AE-FD89-3347-7B3A-8E719411996D}"/>
              </a:ext>
            </a:extLst>
          </p:cNvPr>
          <p:cNvCxnSpPr>
            <a:cxnSpLocks/>
          </p:cNvCxnSpPr>
          <p:nvPr/>
        </p:nvCxnSpPr>
        <p:spPr bwMode="auto">
          <a:xfrm>
            <a:off x="457200" y="3245953"/>
            <a:ext cx="9010651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8" name="그룹 7">
            <a:extLst>
              <a:ext uri="{FF2B5EF4-FFF2-40B4-BE49-F238E27FC236}">
                <a16:creationId xmlns:a16="http://schemas.microsoft.com/office/drawing/2014/main" id="{8D136937-74AE-2285-AA3F-19CF1347F3E1}"/>
              </a:ext>
            </a:extLst>
          </p:cNvPr>
          <p:cNvGrpSpPr/>
          <p:nvPr/>
        </p:nvGrpSpPr>
        <p:grpSpPr>
          <a:xfrm>
            <a:off x="1416729" y="3151192"/>
            <a:ext cx="197958" cy="189523"/>
            <a:chOff x="760652" y="3581889"/>
            <a:chExt cx="197958" cy="189523"/>
          </a:xfrm>
        </p:grpSpPr>
        <p:sp>
          <p:nvSpPr>
            <p:cNvPr id="5" name="타원 4">
              <a:extLst>
                <a:ext uri="{FF2B5EF4-FFF2-40B4-BE49-F238E27FC236}">
                  <a16:creationId xmlns:a16="http://schemas.microsoft.com/office/drawing/2014/main" id="{686B14C6-BC18-2AA6-0935-1039950E906B}"/>
                </a:ext>
              </a:extLst>
            </p:cNvPr>
            <p:cNvSpPr/>
            <p:nvPr/>
          </p:nvSpPr>
          <p:spPr>
            <a:xfrm>
              <a:off x="760652" y="3581889"/>
              <a:ext cx="197958" cy="189523"/>
            </a:xfrm>
            <a:prstGeom prst="ellipse">
              <a:avLst/>
            </a:prstGeom>
            <a:solidFill>
              <a:srgbClr val="999999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36000" tIns="0" rIns="0" bIns="0" rtlCol="0" anchor="ctr">
              <a:noAutofit/>
            </a:bodyPr>
            <a:lstStyle/>
            <a:p>
              <a:pPr algn="ctr" latinLnBrk="0">
                <a:lnSpc>
                  <a:spcPct val="120000"/>
                </a:lnSpc>
                <a:spcBef>
                  <a:spcPts val="400"/>
                </a:spcBef>
                <a:buClr>
                  <a:srgbClr val="646464"/>
                </a:buClr>
                <a:buSzPct val="90000"/>
              </a:pPr>
              <a:endParaRPr lang="ko-KR" altLang="en-US" sz="2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" name="타원 6">
              <a:extLst>
                <a:ext uri="{FF2B5EF4-FFF2-40B4-BE49-F238E27FC236}">
                  <a16:creationId xmlns:a16="http://schemas.microsoft.com/office/drawing/2014/main" id="{9199A4B6-3277-68DD-7A5F-342F7E430C62}"/>
                </a:ext>
              </a:extLst>
            </p:cNvPr>
            <p:cNvSpPr/>
            <p:nvPr/>
          </p:nvSpPr>
          <p:spPr>
            <a:xfrm>
              <a:off x="785267" y="3611926"/>
              <a:ext cx="148729" cy="129447"/>
            </a:xfrm>
            <a:prstGeom prst="ellipse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36000" tIns="0" rIns="0" bIns="0" rtlCol="0" anchor="ctr">
              <a:noAutofit/>
            </a:bodyPr>
            <a:lstStyle/>
            <a:p>
              <a:pPr algn="ctr" latinLnBrk="0">
                <a:lnSpc>
                  <a:spcPct val="120000"/>
                </a:lnSpc>
                <a:spcBef>
                  <a:spcPts val="400"/>
                </a:spcBef>
                <a:buClr>
                  <a:srgbClr val="646464"/>
                </a:buClr>
                <a:buSzPct val="90000"/>
              </a:pPr>
              <a:endParaRPr lang="ko-KR" altLang="en-US" sz="2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32BAD49C-9158-B6E2-8CDE-3E0E52899169}"/>
              </a:ext>
            </a:extLst>
          </p:cNvPr>
          <p:cNvCxnSpPr>
            <a:cxnSpLocks/>
          </p:cNvCxnSpPr>
          <p:nvPr/>
        </p:nvCxnSpPr>
        <p:spPr bwMode="auto">
          <a:xfrm>
            <a:off x="4098919" y="1671089"/>
            <a:ext cx="0" cy="1753149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6DA5E72E-C9A2-0D68-3B50-B90402C849C7}"/>
              </a:ext>
            </a:extLst>
          </p:cNvPr>
          <p:cNvGrpSpPr/>
          <p:nvPr/>
        </p:nvGrpSpPr>
        <p:grpSpPr>
          <a:xfrm>
            <a:off x="3999940" y="3151192"/>
            <a:ext cx="197958" cy="189523"/>
            <a:chOff x="760652" y="3581889"/>
            <a:chExt cx="197958" cy="189523"/>
          </a:xfrm>
        </p:grpSpPr>
        <p:sp>
          <p:nvSpPr>
            <p:cNvPr id="17" name="타원 16">
              <a:extLst>
                <a:ext uri="{FF2B5EF4-FFF2-40B4-BE49-F238E27FC236}">
                  <a16:creationId xmlns:a16="http://schemas.microsoft.com/office/drawing/2014/main" id="{80DD806B-A433-E751-DC9D-93A42BF42FA7}"/>
                </a:ext>
              </a:extLst>
            </p:cNvPr>
            <p:cNvSpPr/>
            <p:nvPr/>
          </p:nvSpPr>
          <p:spPr>
            <a:xfrm>
              <a:off x="760652" y="3581889"/>
              <a:ext cx="197958" cy="189523"/>
            </a:xfrm>
            <a:prstGeom prst="ellipse">
              <a:avLst/>
            </a:prstGeom>
            <a:solidFill>
              <a:srgbClr val="999999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36000" tIns="0" rIns="0" bIns="0" rtlCol="0" anchor="ctr">
              <a:noAutofit/>
            </a:bodyPr>
            <a:lstStyle/>
            <a:p>
              <a:pPr algn="ctr" latinLnBrk="0">
                <a:lnSpc>
                  <a:spcPct val="120000"/>
                </a:lnSpc>
                <a:spcBef>
                  <a:spcPts val="400"/>
                </a:spcBef>
                <a:buClr>
                  <a:srgbClr val="646464"/>
                </a:buClr>
                <a:buSzPct val="90000"/>
              </a:pPr>
              <a:endParaRPr lang="ko-KR" altLang="en-US" sz="2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8" name="타원 17">
              <a:extLst>
                <a:ext uri="{FF2B5EF4-FFF2-40B4-BE49-F238E27FC236}">
                  <a16:creationId xmlns:a16="http://schemas.microsoft.com/office/drawing/2014/main" id="{FBAD8D45-9E66-954E-AC81-A8EA6C588F3B}"/>
                </a:ext>
              </a:extLst>
            </p:cNvPr>
            <p:cNvSpPr/>
            <p:nvPr/>
          </p:nvSpPr>
          <p:spPr>
            <a:xfrm>
              <a:off x="785267" y="3611926"/>
              <a:ext cx="148729" cy="129447"/>
            </a:xfrm>
            <a:prstGeom prst="ellipse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36000" tIns="0" rIns="0" bIns="0" rtlCol="0" anchor="ctr">
              <a:noAutofit/>
            </a:bodyPr>
            <a:lstStyle/>
            <a:p>
              <a:pPr algn="ctr" latinLnBrk="0">
                <a:lnSpc>
                  <a:spcPct val="120000"/>
                </a:lnSpc>
                <a:spcBef>
                  <a:spcPts val="400"/>
                </a:spcBef>
                <a:buClr>
                  <a:srgbClr val="646464"/>
                </a:buClr>
                <a:buSzPct val="90000"/>
              </a:pPr>
              <a:endParaRPr lang="ko-KR" altLang="en-US" sz="24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20" name="화살표: 오른쪽 19">
            <a:extLst>
              <a:ext uri="{FF2B5EF4-FFF2-40B4-BE49-F238E27FC236}">
                <a16:creationId xmlns:a16="http://schemas.microsoft.com/office/drawing/2014/main" id="{695A7EE3-5855-F1D8-6AB6-254AA2A75F67}"/>
              </a:ext>
            </a:extLst>
          </p:cNvPr>
          <p:cNvSpPr/>
          <p:nvPr/>
        </p:nvSpPr>
        <p:spPr>
          <a:xfrm>
            <a:off x="4655235" y="1493147"/>
            <a:ext cx="4134475" cy="772154"/>
          </a:xfrm>
          <a:prstGeom prst="rightArrow">
            <a:avLst/>
          </a:prstGeom>
          <a:solidFill>
            <a:srgbClr val="7F7E82">
              <a:alpha val="40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2400" b="1" kern="0" dirty="0">
                <a:solidFill>
                  <a:schemeClr val="bg1"/>
                </a:solidFill>
                <a:cs typeface="Arial" pitchFamily="34" charset="0"/>
              </a:rPr>
              <a:t>NEXT PLAN???</a:t>
            </a:r>
            <a:endParaRPr lang="ko-KR" altLang="en-US" sz="24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ADFA37-0B5E-0BE2-DAB3-2ED3810ECC24}"/>
              </a:ext>
            </a:extLst>
          </p:cNvPr>
          <p:cNvSpPr txBox="1"/>
          <p:nvPr/>
        </p:nvSpPr>
        <p:spPr>
          <a:xfrm>
            <a:off x="1034578" y="3401388"/>
            <a:ext cx="9432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kern="0" dirty="0">
                <a:solidFill>
                  <a:srgbClr val="646464">
                    <a:lumMod val="50000"/>
                  </a:srgbClr>
                </a:solidFill>
                <a:latin typeface="+mj-lt"/>
                <a:ea typeface="맑은 고딕" pitchFamily="50" charset="-127"/>
              </a:rPr>
              <a:t>2024.10.01</a:t>
            </a:r>
            <a:endParaRPr lang="ko-KR" altLang="en-US" sz="1100" kern="0" dirty="0">
              <a:solidFill>
                <a:srgbClr val="646464">
                  <a:lumMod val="50000"/>
                </a:srgbClr>
              </a:solidFill>
              <a:latin typeface="+mj-lt"/>
              <a:ea typeface="맑은 고딕" pitchFamily="50" charset="-127"/>
            </a:endParaRPr>
          </a:p>
        </p:txBody>
      </p:sp>
      <p:graphicFrame>
        <p:nvGraphicFramePr>
          <p:cNvPr id="22" name="표 21">
            <a:extLst>
              <a:ext uri="{FF2B5EF4-FFF2-40B4-BE49-F238E27FC236}">
                <a16:creationId xmlns:a16="http://schemas.microsoft.com/office/drawing/2014/main" id="{AABE58F1-A4EC-5BB9-5D78-659F72B43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177420"/>
              </p:ext>
            </p:extLst>
          </p:nvPr>
        </p:nvGraphicFramePr>
        <p:xfrm>
          <a:off x="396634" y="3739801"/>
          <a:ext cx="9149003" cy="2505020"/>
        </p:xfrm>
        <a:graphic>
          <a:graphicData uri="http://schemas.openxmlformats.org/drawingml/2006/table">
            <a:tbl>
              <a:tblPr/>
              <a:tblGrid>
                <a:gridCol w="1987578">
                  <a:extLst>
                    <a:ext uri="{9D8B030D-6E8A-4147-A177-3AD203B41FA5}">
                      <a16:colId xmlns:a16="http://schemas.microsoft.com/office/drawing/2014/main" val="2493560604"/>
                    </a:ext>
                  </a:extLst>
                </a:gridCol>
                <a:gridCol w="7161425">
                  <a:extLst>
                    <a:ext uri="{9D8B030D-6E8A-4147-A177-3AD203B41FA5}">
                      <a16:colId xmlns:a16="http://schemas.microsoft.com/office/drawing/2014/main" val="1155536742"/>
                    </a:ext>
                  </a:extLst>
                </a:gridCol>
              </a:tblGrid>
              <a:tr h="7648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800" b="1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확정 사안</a:t>
                      </a:r>
                      <a:endParaRPr lang="en-US" sz="1800" b="1" i="0" u="none" strike="noStrike" dirty="0"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ko-KR" alt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잔금납부까지 진행한다면</a:t>
                      </a:r>
                      <a:r>
                        <a:rPr lang="en-US" altLang="ko-K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sym typeface="Wingdings" panose="05000000000000000000" pitchFamily="2" charset="2"/>
                        </a:rPr>
                        <a:t>,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- 2025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09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월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30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일까지 </a:t>
                      </a:r>
                      <a:r>
                        <a:rPr lang="ko-KR" altLang="en-US" sz="1400" b="1" kern="1200" spc="-41" dirty="0" err="1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한패스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고객 추가지출비용 없음  </a:t>
                      </a:r>
                      <a:endParaRPr lang="en-US" altLang="ko-KR" sz="1400" b="1" kern="1200" spc="-41" dirty="0">
                        <a:solidFill>
                          <a:srgbClr val="030915"/>
                        </a:solidFill>
                        <a:latin typeface="나눔스퀘어_ac ExtraBold" panose="020B0600000101010101" pitchFamily="50" charset="-127"/>
                        <a:ea typeface="나눔스퀘어_ac ExtraBold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- 2025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년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09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월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30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일까지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RPA 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사용가능 </a:t>
                      </a:r>
                      <a:r>
                        <a:rPr lang="en-US" altLang="ko-KR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+ </a:t>
                      </a:r>
                      <a:r>
                        <a:rPr lang="ko-KR" altLang="en-US" sz="1400" b="1" kern="1200" spc="-41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무상 하자보수 용역지원</a:t>
                      </a:r>
                      <a:endParaRPr lang="en-US" altLang="ko-KR" sz="1400" b="1" kern="1200" spc="-41" dirty="0">
                        <a:solidFill>
                          <a:srgbClr val="030915"/>
                        </a:solidFill>
                        <a:latin typeface="나눔스퀘어_ac ExtraBold" panose="020B0600000101010101" pitchFamily="50" charset="-127"/>
                        <a:ea typeface="나눔스퀘어_ac ExtraBold" panose="020B0600000101010101" pitchFamily="50" charset="-127"/>
                        <a:cs typeface="+mn-cs"/>
                      </a:endParaRP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480229"/>
                  </a:ext>
                </a:extLst>
              </a:tr>
              <a:tr h="764830">
                <a:tc>
                  <a:txBody>
                    <a:bodyPr/>
                    <a:lstStyle/>
                    <a:p>
                      <a:pPr marL="0" marR="0" lvl="0" indent="0" algn="ctr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고객의 </a:t>
                      </a:r>
                      <a:r>
                        <a:rPr kumimoji="0" lang="en-US" altLang="ko-K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Need’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kern="1200" spc="-41" noProof="0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- </a:t>
                      </a:r>
                      <a:r>
                        <a:rPr lang="ko-KR" altLang="en-US" sz="1400" b="1" kern="1200" spc="-41" noProof="0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기본생각 </a:t>
                      </a:r>
                      <a:r>
                        <a:rPr lang="en-US" altLang="ko-KR" sz="1400" b="1" kern="1200" spc="-41" noProof="0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en-US" altLang="ko-KR" sz="1400" b="1" kern="1200" spc="-41" noProof="0" dirty="0" err="1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Brity</a:t>
                      </a:r>
                      <a:r>
                        <a:rPr lang="en-US" altLang="ko-KR" sz="1400" b="1" kern="1200" spc="-41" noProof="0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RPA 1</a:t>
                      </a:r>
                      <a:r>
                        <a:rPr lang="ko-KR" altLang="en-US" sz="1400" b="1" kern="1200" spc="-41" noProof="0" dirty="0">
                          <a:solidFill>
                            <a:srgbClr val="030915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년 지출비용 가격부담</a:t>
                      </a:r>
                      <a:endParaRPr lang="en-US" altLang="ko-KR" sz="1400" b="1" kern="1200" spc="-41" noProof="0" dirty="0">
                        <a:solidFill>
                          <a:srgbClr val="030915"/>
                        </a:solidFill>
                        <a:latin typeface="나눔스퀘어_ac ExtraBold" panose="020B0600000101010101" pitchFamily="50" charset="-127"/>
                        <a:ea typeface="나눔스퀘어_ac ExtraBold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- 1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안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 9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월 까지만 </a:t>
                      </a:r>
                      <a:r>
                        <a:rPr lang="en-US" altLang="ko-KR" sz="1100" b="1" kern="1200" spc="-41" noProof="0" dirty="0" err="1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Brity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사용하고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, RPA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더 이상 사용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X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LROD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계약 종료하는 방안</a:t>
                      </a:r>
                      <a:endParaRPr lang="en-US" altLang="ko-KR" sz="1100" b="1" kern="1200" spc="-41" noProof="0" dirty="0">
                        <a:solidFill>
                          <a:srgbClr val="FF0000"/>
                        </a:solidFill>
                        <a:latin typeface="나눔스퀘어_ac ExtraBold" panose="020B0600000101010101" pitchFamily="50" charset="-127"/>
                        <a:ea typeface="나눔스퀘어_ac ExtraBold" panose="020B0600000101010101" pitchFamily="50" charset="-127"/>
                        <a:cs typeface="+mn-cs"/>
                      </a:endParaRPr>
                    </a:p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- 2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안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 9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월 이후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별도의  계약 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사유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법무실 高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ROI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과제 있음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      2-1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안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유지보수 계약에 포함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신한투자증권 사례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       2-2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안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) 2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차 구축 개발용역 발주 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업무성격상 고려</a:t>
                      </a:r>
                      <a:r>
                        <a:rPr lang="en-US" altLang="ko-KR" sz="1100" b="1" kern="1200" spc="-41" noProof="0" dirty="0">
                          <a:solidFill>
                            <a:srgbClr val="FF0000"/>
                          </a:solidFill>
                          <a:latin typeface="나눔스퀘어_ac ExtraBold" panose="020B0600000101010101" pitchFamily="50" charset="-127"/>
                          <a:ea typeface="나눔스퀘어_ac ExtraBold" panose="020B0600000101010101" pitchFamily="50" charset="-127"/>
                          <a:cs typeface="+mn-cs"/>
                        </a:rPr>
                        <a:t>X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942546"/>
                  </a:ext>
                </a:extLst>
              </a:tr>
              <a:tr h="764830">
                <a:tc>
                  <a:txBody>
                    <a:bodyPr/>
                    <a:lstStyle/>
                    <a:p>
                      <a:pPr marL="0" marR="0" lvl="0" indent="0" algn="ctr" defTabSz="742931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당사의</a:t>
                      </a:r>
                      <a:r>
                        <a:rPr kumimoji="0" lang="en-US" altLang="ko-KR" sz="18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Message</a:t>
                      </a:r>
                      <a:endParaRPr kumimoji="0" lang="ko-KR" altLang="en-US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</a:t>
                      </a:r>
                      <a:r>
                        <a:rPr lang="ko-KR" altLang="en-US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규과제</a:t>
                      </a:r>
                      <a:r>
                        <a:rPr lang="en-US" altLang="ko-KR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</a:p>
                    <a:p>
                      <a:pPr algn="l" fontAlgn="ctr"/>
                      <a:r>
                        <a:rPr lang="en-US" altLang="ko-KR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- BOT </a:t>
                      </a:r>
                      <a:r>
                        <a:rPr lang="ko-KR" altLang="en-US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휴자원</a:t>
                      </a:r>
                      <a:r>
                        <a:rPr lang="en-US" altLang="ko-KR" sz="105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?</a:t>
                      </a:r>
                      <a:endParaRPr lang="ko-KR" altLang="en-US" sz="105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535" marR="90535" marT="45267" marB="4526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119901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440ED559-3655-0381-0F82-F93D7F4C60AA}"/>
              </a:ext>
            </a:extLst>
          </p:cNvPr>
          <p:cNvSpPr txBox="1"/>
          <p:nvPr/>
        </p:nvSpPr>
        <p:spPr>
          <a:xfrm>
            <a:off x="3627315" y="3391851"/>
            <a:ext cx="9432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1100" kern="0" dirty="0">
                <a:solidFill>
                  <a:srgbClr val="FF0000"/>
                </a:solidFill>
                <a:latin typeface="+mj-lt"/>
                <a:ea typeface="맑은 고딕" pitchFamily="50" charset="-127"/>
              </a:rPr>
              <a:t>2025.09.30</a:t>
            </a:r>
            <a:endParaRPr lang="ko-KR" altLang="en-US" sz="1100" kern="0" dirty="0">
              <a:solidFill>
                <a:srgbClr val="FF0000"/>
              </a:solidFill>
              <a:latin typeface="+mj-lt"/>
              <a:ea typeface="맑은 고딕" pitchFamily="50" charset="-127"/>
            </a:endParaRPr>
          </a:p>
        </p:txBody>
      </p:sp>
      <p:sp>
        <p:nvSpPr>
          <p:cNvPr id="24" name="별: 꼭짓점 7개 23">
            <a:extLst>
              <a:ext uri="{FF2B5EF4-FFF2-40B4-BE49-F238E27FC236}">
                <a16:creationId xmlns:a16="http://schemas.microsoft.com/office/drawing/2014/main" id="{C99F80DF-1C28-22B8-0C68-6763436AC945}"/>
              </a:ext>
            </a:extLst>
          </p:cNvPr>
          <p:cNvSpPr/>
          <p:nvPr/>
        </p:nvSpPr>
        <p:spPr>
          <a:xfrm>
            <a:off x="2460201" y="1561996"/>
            <a:ext cx="308121" cy="286464"/>
          </a:xfrm>
          <a:prstGeom prst="star7">
            <a:avLst>
              <a:gd name="adj" fmla="val 21169"/>
              <a:gd name="hf" fmla="val 102572"/>
              <a:gd name="vf" fmla="val 105210"/>
            </a:avLst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endParaRPr lang="ko-KR" altLang="en-US" sz="1100" b="1" kern="0" dirty="0">
              <a:solidFill>
                <a:schemeClr val="accent5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F14F2A-6203-E48C-6196-59C705791A9B}"/>
              </a:ext>
            </a:extLst>
          </p:cNvPr>
          <p:cNvSpPr txBox="1"/>
          <p:nvPr/>
        </p:nvSpPr>
        <p:spPr>
          <a:xfrm>
            <a:off x="2241883" y="1848460"/>
            <a:ext cx="699550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2388"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en-US" altLang="ko-KR" sz="800" b="1" kern="0" dirty="0">
                <a:solidFill>
                  <a:schemeClr val="accent5">
                    <a:lumMod val="50000"/>
                  </a:schemeClr>
                </a:solidFill>
                <a:latin typeface="+mj-lt"/>
                <a:ea typeface="맑은 고딕" pitchFamily="50" charset="-127"/>
              </a:rPr>
              <a:t>2025.02</a:t>
            </a:r>
          </a:p>
          <a:p>
            <a:pPr marL="52388" algn="ctr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800" b="1" kern="0" dirty="0">
                <a:solidFill>
                  <a:schemeClr val="accent5">
                    <a:lumMod val="50000"/>
                  </a:schemeClr>
                </a:solidFill>
                <a:latin typeface="+mj-lt"/>
                <a:ea typeface="맑은 고딕" pitchFamily="50" charset="-127"/>
              </a:rPr>
              <a:t>잔금납부</a:t>
            </a: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50645353-5C60-436A-7AFD-1A3BF847DF45}"/>
              </a:ext>
            </a:extLst>
          </p:cNvPr>
          <p:cNvCxnSpPr>
            <a:cxnSpLocks/>
          </p:cNvCxnSpPr>
          <p:nvPr/>
        </p:nvCxnSpPr>
        <p:spPr bwMode="auto">
          <a:xfrm flipV="1">
            <a:off x="457200" y="1453515"/>
            <a:ext cx="0" cy="1807678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9B6E4CD-E96E-889E-43F2-88E5E524CD06}"/>
              </a:ext>
            </a:extLst>
          </p:cNvPr>
          <p:cNvSpPr txBox="1"/>
          <p:nvPr/>
        </p:nvSpPr>
        <p:spPr>
          <a:xfrm>
            <a:off x="8956474" y="3363072"/>
            <a:ext cx="468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900" kern="0" dirty="0">
                <a:solidFill>
                  <a:srgbClr val="646464">
                    <a:lumMod val="50000"/>
                  </a:srgbClr>
                </a:solidFill>
                <a:latin typeface="+mj-lt"/>
                <a:ea typeface="맑은 고딕" pitchFamily="50" charset="-127"/>
              </a:rPr>
              <a:t>기간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79FF61F-5247-C9EC-4AF9-58BB2DB3CC9A}"/>
              </a:ext>
            </a:extLst>
          </p:cNvPr>
          <p:cNvSpPr txBox="1"/>
          <p:nvPr/>
        </p:nvSpPr>
        <p:spPr>
          <a:xfrm>
            <a:off x="85681" y="1199099"/>
            <a:ext cx="69955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2388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ko-KR" altLang="en-US" sz="900" kern="0">
                <a:solidFill>
                  <a:srgbClr val="646464">
                    <a:lumMod val="50000"/>
                  </a:srgbClr>
                </a:solidFill>
                <a:latin typeface="+mj-lt"/>
                <a:ea typeface="맑은 고딕" pitchFamily="50" charset="-127"/>
              </a:rPr>
              <a:t>비용구조</a:t>
            </a:r>
            <a:endParaRPr lang="ko-KR" altLang="en-US" sz="900" kern="0" dirty="0">
              <a:solidFill>
                <a:srgbClr val="646464">
                  <a:lumMod val="50000"/>
                </a:srgbClr>
              </a:solidFill>
              <a:latin typeface="+mj-lt"/>
              <a:ea typeface="맑은 고딕" pitchFamily="50" charset="-127"/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8FA27C18-6CE9-D82E-EF22-83B7F15A3770}"/>
              </a:ext>
            </a:extLst>
          </p:cNvPr>
          <p:cNvSpPr/>
          <p:nvPr/>
        </p:nvSpPr>
        <p:spPr>
          <a:xfrm>
            <a:off x="506288" y="2762071"/>
            <a:ext cx="961216" cy="37814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SW 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무상제공</a:t>
            </a:r>
          </a:p>
        </p:txBody>
      </p:sp>
    </p:spTree>
    <p:extLst>
      <p:ext uri="{BB962C8B-B14F-4D97-AF65-F5344CB8AC3E}">
        <p14:creationId xmlns:p14="http://schemas.microsoft.com/office/powerpoint/2010/main" val="1724983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A73166-AC19-C8DD-FDDF-33AB4A0A2B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>
            <a:extLst>
              <a:ext uri="{FF2B5EF4-FFF2-40B4-BE49-F238E27FC236}">
                <a16:creationId xmlns:a16="http://schemas.microsoft.com/office/drawing/2014/main" id="{DF0643A3-B3C2-9F7F-5943-2FC80148FD03}"/>
              </a:ext>
            </a:extLst>
          </p:cNvPr>
          <p:cNvSpPr/>
          <p:nvPr/>
        </p:nvSpPr>
        <p:spPr>
          <a:xfrm>
            <a:off x="7493217" y="1843179"/>
            <a:ext cx="1501536" cy="38241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t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한패스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400" b="1" spc="-41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내부망</a:t>
            </a:r>
            <a:endParaRPr lang="ko-KR" altLang="en-US" sz="1400" b="1" spc="-41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E638B5E-FFA7-0463-4E69-C1CE54C65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3" y="800391"/>
            <a:ext cx="9032657" cy="369332"/>
          </a:xfrm>
        </p:spPr>
        <p:txBody>
          <a:bodyPr wrap="square">
            <a:spAutoFit/>
          </a:bodyPr>
          <a:lstStyle/>
          <a:p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고객의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솔루션비용 구성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/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지출기간 이해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?</a:t>
            </a:r>
            <a:endParaRPr lang="en-US" altLang="ko-KR" sz="1800" kern="1200" dirty="0">
              <a:solidFill>
                <a:schemeClr val="bg1">
                  <a:lumMod val="50000"/>
                </a:schemeClr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8289DE33-341F-70A4-55E4-14819C66B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06829"/>
            <a:ext cx="7604916" cy="330907"/>
          </a:xfrm>
        </p:spPr>
        <p:txBody>
          <a:bodyPr/>
          <a:lstStyle/>
          <a:p>
            <a:r>
              <a:rPr lang="en-US" altLang="ko-KR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2. RPA </a:t>
            </a:r>
            <a:r>
              <a:rPr lang="ko-KR" altLang="en-US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솔루션비</a:t>
            </a:r>
            <a:endParaRPr lang="ko-KR" altLang="en-US" sz="18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F725D90A-A1BA-41DE-270F-D95E510CE4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518" y="1304924"/>
            <a:ext cx="3863657" cy="4981443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2B21C907-6876-7198-721B-BF61B53F9B06}"/>
              </a:ext>
            </a:extLst>
          </p:cNvPr>
          <p:cNvSpPr/>
          <p:nvPr/>
        </p:nvSpPr>
        <p:spPr>
          <a:xfrm>
            <a:off x="5162551" y="1321785"/>
            <a:ext cx="43830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 defTabSz="742931" fontAlgn="base" latinLnBrk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</a:pPr>
            <a:r>
              <a:rPr lang="en-US" altLang="ko-KR" b="1" spc="-41" dirty="0" err="1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Brity</a:t>
            </a:r>
            <a:r>
              <a:rPr lang="en-US" altLang="ko-KR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RPA </a:t>
            </a:r>
            <a:r>
              <a:rPr lang="ko-KR" altLang="en-US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솔루션 </a:t>
            </a:r>
            <a:r>
              <a:rPr lang="en-US" altLang="ko-KR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– </a:t>
            </a:r>
            <a:r>
              <a:rPr lang="ko-KR" altLang="en-US" b="1" spc="-41" dirty="0" err="1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한패스</a:t>
            </a:r>
            <a:r>
              <a:rPr lang="ko-KR" altLang="en-US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 시스템 구성도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5722E79-525D-970A-2BB7-A40E4F6ED3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824" t="6192" r="17371" b="6288"/>
          <a:stretch/>
        </p:blipFill>
        <p:spPr bwMode="auto">
          <a:xfrm>
            <a:off x="7568076" y="2145811"/>
            <a:ext cx="1336197" cy="1004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6B3400F2-A399-A8F2-366F-CE061BFBDD4E}"/>
              </a:ext>
            </a:extLst>
          </p:cNvPr>
          <p:cNvGrpSpPr/>
          <p:nvPr/>
        </p:nvGrpSpPr>
        <p:grpSpPr>
          <a:xfrm>
            <a:off x="7921158" y="2289903"/>
            <a:ext cx="601295" cy="552101"/>
            <a:chOff x="5294909" y="2935256"/>
            <a:chExt cx="935982" cy="935982"/>
          </a:xfrm>
          <a:effectLst>
            <a:glow rad="635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12" name="타원 11">
              <a:extLst>
                <a:ext uri="{FF2B5EF4-FFF2-40B4-BE49-F238E27FC236}">
                  <a16:creationId xmlns:a16="http://schemas.microsoft.com/office/drawing/2014/main" id="{0AC3DDA9-012B-3E9C-C022-969ABBC95019}"/>
                </a:ext>
              </a:extLst>
            </p:cNvPr>
            <p:cNvSpPr/>
            <p:nvPr/>
          </p:nvSpPr>
          <p:spPr>
            <a:xfrm>
              <a:off x="5294909" y="2935256"/>
              <a:ext cx="935982" cy="935982"/>
            </a:xfrm>
            <a:prstGeom prst="ellips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13" name="그림 12">
              <a:extLst>
                <a:ext uri="{FF2B5EF4-FFF2-40B4-BE49-F238E27FC236}">
                  <a16:creationId xmlns:a16="http://schemas.microsoft.com/office/drawing/2014/main" id="{63094DC7-3C64-9A8C-B87D-1261433F6B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8651" t="43173" r="54625" b="43914"/>
            <a:stretch/>
          </p:blipFill>
          <p:spPr>
            <a:xfrm>
              <a:off x="5467348" y="3095625"/>
              <a:ext cx="614363" cy="60007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CFE77C5-0823-B3AA-E311-3F6108E1D7AF}"/>
              </a:ext>
            </a:extLst>
          </p:cNvPr>
          <p:cNvSpPr txBox="1"/>
          <p:nvPr/>
        </p:nvSpPr>
        <p:spPr>
          <a:xfrm>
            <a:off x="8763771" y="2561480"/>
            <a:ext cx="1304278" cy="645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서버연결형</a:t>
            </a:r>
            <a:endParaRPr lang="en-US" altLang="ko-KR" sz="1400" b="1" spc="-41" dirty="0">
              <a:solidFill>
                <a:srgbClr val="FF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로봇</a:t>
            </a: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1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식</a:t>
            </a:r>
          </a:p>
        </p:txBody>
      </p:sp>
      <p:pic>
        <p:nvPicPr>
          <p:cNvPr id="18" name="Picture 11" descr="computers6131000">
            <a:extLst>
              <a:ext uri="{FF2B5EF4-FFF2-40B4-BE49-F238E27FC236}">
                <a16:creationId xmlns:a16="http://schemas.microsoft.com/office/drawing/2014/main" id="{0A781EF3-BA3C-3775-5425-0FC97EEBB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248" y="3608345"/>
            <a:ext cx="942058" cy="867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4CFC90-B4A3-A0A2-192F-34400CA4F918}"/>
              </a:ext>
            </a:extLst>
          </p:cNvPr>
          <p:cNvSpPr txBox="1"/>
          <p:nvPr/>
        </p:nvSpPr>
        <p:spPr>
          <a:xfrm>
            <a:off x="8763771" y="3767070"/>
            <a:ext cx="1304278" cy="645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관리서버</a:t>
            </a:r>
            <a:endParaRPr lang="en-US" altLang="ko-KR" sz="1400" b="1" spc="-41" dirty="0">
              <a:solidFill>
                <a:srgbClr val="FF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식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3443455D-41C6-5B75-21BD-6DD8A81380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824" t="6192" r="17371" b="6288"/>
          <a:stretch/>
        </p:blipFill>
        <p:spPr bwMode="auto">
          <a:xfrm>
            <a:off x="7691837" y="4873506"/>
            <a:ext cx="1104296" cy="82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AA4986C-4FF0-693A-3B5D-D7B8A23A4AA9}"/>
              </a:ext>
            </a:extLst>
          </p:cNvPr>
          <p:cNvSpPr txBox="1"/>
          <p:nvPr/>
        </p:nvSpPr>
        <p:spPr>
          <a:xfrm>
            <a:off x="8762219" y="4726653"/>
            <a:ext cx="1304278" cy="594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발도구 </a:t>
            </a: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1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식</a:t>
            </a:r>
            <a:endParaRPr lang="en-US" altLang="ko-KR" sz="1400" b="1" spc="-41" dirty="0">
              <a:solidFill>
                <a:srgbClr val="FF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E57D7A4E-0752-A56C-B999-F7E2A5A5D75D}"/>
              </a:ext>
            </a:extLst>
          </p:cNvPr>
          <p:cNvSpPr/>
          <p:nvPr/>
        </p:nvSpPr>
        <p:spPr>
          <a:xfrm>
            <a:off x="5461209" y="1843179"/>
            <a:ext cx="1501536" cy="38241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t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한패스</a:t>
            </a:r>
            <a:r>
              <a:rPr lang="ko-KR" altLang="en-US" sz="1400" b="1" spc="-41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</a:t>
            </a:r>
            <a:r>
              <a:rPr lang="ko-KR" altLang="en-US" sz="1400" b="1" spc="-41" dirty="0" err="1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외부망</a:t>
            </a:r>
            <a:endParaRPr lang="ko-KR" altLang="en-US" sz="1400" b="1" spc="-41" dirty="0">
              <a:solidFill>
                <a:schemeClr val="tx2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2431708C-B855-B718-4F60-1E61ABFA5A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824" t="6192" r="17371" b="6288"/>
          <a:stretch/>
        </p:blipFill>
        <p:spPr bwMode="auto">
          <a:xfrm>
            <a:off x="5575975" y="2926861"/>
            <a:ext cx="1336197" cy="1004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A1D0CB-9686-BA79-60D5-F89B94B3F9D7}"/>
              </a:ext>
            </a:extLst>
          </p:cNvPr>
          <p:cNvSpPr txBox="1"/>
          <p:nvPr/>
        </p:nvSpPr>
        <p:spPr>
          <a:xfrm>
            <a:off x="4502679" y="2647950"/>
            <a:ext cx="1304278" cy="645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독구동형</a:t>
            </a:r>
            <a:endParaRPr lang="en-US" altLang="ko-KR" sz="1400" b="1" spc="-41" dirty="0">
              <a:solidFill>
                <a:srgbClr val="FF000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로봇</a:t>
            </a:r>
            <a:r>
              <a:rPr lang="en-US" altLang="ko-KR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1</a:t>
            </a:r>
            <a:r>
              <a:rPr lang="ko-KR" altLang="en-US" sz="1400" b="1" spc="-41" dirty="0">
                <a:solidFill>
                  <a:srgbClr val="FF000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식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26E693-BD75-89F4-D0A7-EB75805E8D7C}"/>
              </a:ext>
            </a:extLst>
          </p:cNvPr>
          <p:cNvSpPr txBox="1"/>
          <p:nvPr/>
        </p:nvSpPr>
        <p:spPr>
          <a:xfrm>
            <a:off x="4502679" y="3516694"/>
            <a:ext cx="1304278" cy="904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단독구동형</a:t>
            </a:r>
            <a:endParaRPr lang="en-US" altLang="ko-KR" sz="1400" b="1" spc="-41" dirty="0">
              <a:solidFill>
                <a:srgbClr val="0070C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RPA </a:t>
            </a:r>
            <a:r>
              <a:rPr lang="ko-KR" altLang="en-US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개발도구</a:t>
            </a:r>
            <a:r>
              <a:rPr lang="en-US" altLang="ko-KR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 1</a:t>
            </a:r>
            <a:r>
              <a:rPr lang="ko-KR" altLang="en-US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식 </a:t>
            </a:r>
            <a:r>
              <a:rPr lang="en-US" altLang="ko-KR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(</a:t>
            </a:r>
            <a:r>
              <a:rPr lang="ko-KR" altLang="en-US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무상</a:t>
            </a:r>
            <a:r>
              <a:rPr lang="en-US" altLang="ko-KR" sz="1400" b="1" spc="-41" dirty="0">
                <a:solidFill>
                  <a:srgbClr val="0070C0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)</a:t>
            </a:r>
            <a:endParaRPr lang="ko-KR" altLang="en-US" sz="1400" b="1" spc="-41" dirty="0">
              <a:solidFill>
                <a:srgbClr val="0070C0"/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789A1735-24B7-210F-15B2-B062581F7626}"/>
              </a:ext>
            </a:extLst>
          </p:cNvPr>
          <p:cNvCxnSpPr>
            <a:stCxn id="1026" idx="1"/>
            <a:endCxn id="23" idx="3"/>
          </p:cNvCxnSpPr>
          <p:nvPr/>
        </p:nvCxnSpPr>
        <p:spPr bwMode="auto">
          <a:xfrm flipH="1">
            <a:off x="6912172" y="2647950"/>
            <a:ext cx="655904" cy="78105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E901BCF0-D105-43E4-B373-9524ECE8A1C8}"/>
              </a:ext>
            </a:extLst>
          </p:cNvPr>
          <p:cNvGrpSpPr/>
          <p:nvPr/>
        </p:nvGrpSpPr>
        <p:grpSpPr>
          <a:xfrm>
            <a:off x="5761592" y="3067754"/>
            <a:ext cx="451762" cy="377093"/>
            <a:chOff x="5294909" y="2935256"/>
            <a:chExt cx="935982" cy="935982"/>
          </a:xfrm>
          <a:effectLst>
            <a:glow rad="635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29" name="타원 28">
              <a:extLst>
                <a:ext uri="{FF2B5EF4-FFF2-40B4-BE49-F238E27FC236}">
                  <a16:creationId xmlns:a16="http://schemas.microsoft.com/office/drawing/2014/main" id="{F81C3080-9BB9-8131-1D49-85706B9296B6}"/>
                </a:ext>
              </a:extLst>
            </p:cNvPr>
            <p:cNvSpPr/>
            <p:nvPr/>
          </p:nvSpPr>
          <p:spPr>
            <a:xfrm>
              <a:off x="5294909" y="2935256"/>
              <a:ext cx="935982" cy="935982"/>
            </a:xfrm>
            <a:prstGeom prst="ellips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0" name="그림 29">
              <a:extLst>
                <a:ext uri="{FF2B5EF4-FFF2-40B4-BE49-F238E27FC236}">
                  <a16:creationId xmlns:a16="http://schemas.microsoft.com/office/drawing/2014/main" id="{5AFB56DF-AA64-3FE8-4B66-C6D6E56D7A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8651" t="43173" r="54625" b="43914"/>
            <a:stretch/>
          </p:blipFill>
          <p:spPr>
            <a:xfrm>
              <a:off x="5467348" y="3095625"/>
              <a:ext cx="614363" cy="600075"/>
            </a:xfrm>
            <a:prstGeom prst="rect">
              <a:avLst/>
            </a:prstGeom>
          </p:spPr>
        </p:pic>
      </p:grpSp>
      <p:grpSp>
        <p:nvGrpSpPr>
          <p:cNvPr id="1032" name="그룹 1031">
            <a:extLst>
              <a:ext uri="{FF2B5EF4-FFF2-40B4-BE49-F238E27FC236}">
                <a16:creationId xmlns:a16="http://schemas.microsoft.com/office/drawing/2014/main" id="{2E2799BC-C1F9-D958-6236-87B5C59036D4}"/>
              </a:ext>
            </a:extLst>
          </p:cNvPr>
          <p:cNvGrpSpPr/>
          <p:nvPr/>
        </p:nvGrpSpPr>
        <p:grpSpPr>
          <a:xfrm>
            <a:off x="6280699" y="3056376"/>
            <a:ext cx="429843" cy="406127"/>
            <a:chOff x="3902299" y="2347774"/>
            <a:chExt cx="276783" cy="191945"/>
          </a:xfrm>
          <a:solidFill>
            <a:sysClr val="window" lastClr="FFFFFF">
              <a:lumMod val="50000"/>
            </a:sysClr>
          </a:solidFill>
        </p:grpSpPr>
        <p:grpSp>
          <p:nvGrpSpPr>
            <p:cNvPr id="1034" name="그룹 1033">
              <a:extLst>
                <a:ext uri="{FF2B5EF4-FFF2-40B4-BE49-F238E27FC236}">
                  <a16:creationId xmlns:a16="http://schemas.microsoft.com/office/drawing/2014/main" id="{87CA21A9-0656-25C3-3BDC-7E36EA68F29A}"/>
                </a:ext>
              </a:extLst>
            </p:cNvPr>
            <p:cNvGrpSpPr/>
            <p:nvPr/>
          </p:nvGrpSpPr>
          <p:grpSpPr>
            <a:xfrm>
              <a:off x="4047721" y="2347774"/>
              <a:ext cx="131361" cy="191945"/>
              <a:chOff x="4145657" y="2347774"/>
              <a:chExt cx="177181" cy="258897"/>
            </a:xfrm>
            <a:grpFill/>
          </p:grpSpPr>
          <p:sp>
            <p:nvSpPr>
              <p:cNvPr id="1036" name="Freeform 38">
                <a:extLst>
                  <a:ext uri="{FF2B5EF4-FFF2-40B4-BE49-F238E27FC236}">
                    <a16:creationId xmlns:a16="http://schemas.microsoft.com/office/drawing/2014/main" id="{34756EEE-E8C1-7A8A-C62A-D2198CA62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574" y="2347774"/>
                <a:ext cx="127349" cy="127349"/>
              </a:xfrm>
              <a:custGeom>
                <a:avLst/>
                <a:gdLst>
                  <a:gd name="T0" fmla="*/ 66 w 216"/>
                  <a:gd name="T1" fmla="*/ 207 h 216"/>
                  <a:gd name="T2" fmla="*/ 108 w 216"/>
                  <a:gd name="T3" fmla="*/ 216 h 216"/>
                  <a:gd name="T4" fmla="*/ 154 w 216"/>
                  <a:gd name="T5" fmla="*/ 206 h 216"/>
                  <a:gd name="T6" fmla="*/ 216 w 216"/>
                  <a:gd name="T7" fmla="*/ 108 h 216"/>
                  <a:gd name="T8" fmla="*/ 214 w 216"/>
                  <a:gd name="T9" fmla="*/ 89 h 216"/>
                  <a:gd name="T10" fmla="*/ 108 w 216"/>
                  <a:gd name="T11" fmla="*/ 0 h 216"/>
                  <a:gd name="T12" fmla="*/ 2 w 216"/>
                  <a:gd name="T13" fmla="*/ 88 h 216"/>
                  <a:gd name="T14" fmla="*/ 0 w 216"/>
                  <a:gd name="T15" fmla="*/ 108 h 216"/>
                  <a:gd name="T16" fmla="*/ 66 w 216"/>
                  <a:gd name="T17" fmla="*/ 20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" h="216">
                    <a:moveTo>
                      <a:pt x="66" y="207"/>
                    </a:moveTo>
                    <a:cubicBezTo>
                      <a:pt x="79" y="213"/>
                      <a:pt x="93" y="216"/>
                      <a:pt x="108" y="216"/>
                    </a:cubicBezTo>
                    <a:cubicBezTo>
                      <a:pt x="125" y="216"/>
                      <a:pt x="140" y="212"/>
                      <a:pt x="154" y="206"/>
                    </a:cubicBezTo>
                    <a:cubicBezTo>
                      <a:pt x="191" y="188"/>
                      <a:pt x="216" y="151"/>
                      <a:pt x="216" y="108"/>
                    </a:cubicBezTo>
                    <a:cubicBezTo>
                      <a:pt x="216" y="101"/>
                      <a:pt x="216" y="95"/>
                      <a:pt x="214" y="89"/>
                    </a:cubicBezTo>
                    <a:cubicBezTo>
                      <a:pt x="205" y="38"/>
                      <a:pt x="161" y="0"/>
                      <a:pt x="108" y="0"/>
                    </a:cubicBezTo>
                    <a:cubicBezTo>
                      <a:pt x="55" y="0"/>
                      <a:pt x="12" y="38"/>
                      <a:pt x="2" y="88"/>
                    </a:cubicBezTo>
                    <a:cubicBezTo>
                      <a:pt x="1" y="94"/>
                      <a:pt x="0" y="101"/>
                      <a:pt x="0" y="108"/>
                    </a:cubicBezTo>
                    <a:cubicBezTo>
                      <a:pt x="0" y="152"/>
                      <a:pt x="28" y="191"/>
                      <a:pt x="66" y="20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53" tIns="45727" rIns="91453" bIns="4572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1037" name="Freeform 39">
                <a:extLst>
                  <a:ext uri="{FF2B5EF4-FFF2-40B4-BE49-F238E27FC236}">
                    <a16:creationId xmlns:a16="http://schemas.microsoft.com/office/drawing/2014/main" id="{F4974D78-436D-9A01-DAD0-492A228CF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5657" y="2477476"/>
                <a:ext cx="177181" cy="129195"/>
              </a:xfrm>
              <a:custGeom>
                <a:avLst/>
                <a:gdLst>
                  <a:gd name="T0" fmla="*/ 298 w 301"/>
                  <a:gd name="T1" fmla="*/ 116 h 219"/>
                  <a:gd name="T2" fmla="*/ 290 w 301"/>
                  <a:gd name="T3" fmla="*/ 91 h 219"/>
                  <a:gd name="T4" fmla="*/ 182 w 301"/>
                  <a:gd name="T5" fmla="*/ 0 h 219"/>
                  <a:gd name="T6" fmla="*/ 161 w 301"/>
                  <a:gd name="T7" fmla="*/ 35 h 219"/>
                  <a:gd name="T8" fmla="*/ 175 w 301"/>
                  <a:gd name="T9" fmla="*/ 82 h 219"/>
                  <a:gd name="T10" fmla="*/ 184 w 301"/>
                  <a:gd name="T11" fmla="*/ 109 h 219"/>
                  <a:gd name="T12" fmla="*/ 184 w 301"/>
                  <a:gd name="T13" fmla="*/ 109 h 219"/>
                  <a:gd name="T14" fmla="*/ 155 w 301"/>
                  <a:gd name="T15" fmla="*/ 156 h 219"/>
                  <a:gd name="T16" fmla="*/ 150 w 301"/>
                  <a:gd name="T17" fmla="*/ 164 h 219"/>
                  <a:gd name="T18" fmla="*/ 150 w 301"/>
                  <a:gd name="T19" fmla="*/ 163 h 219"/>
                  <a:gd name="T20" fmla="*/ 117 w 301"/>
                  <a:gd name="T21" fmla="*/ 109 h 219"/>
                  <a:gd name="T22" fmla="*/ 117 w 301"/>
                  <a:gd name="T23" fmla="*/ 109 h 219"/>
                  <a:gd name="T24" fmla="*/ 127 w 301"/>
                  <a:gd name="T25" fmla="*/ 77 h 219"/>
                  <a:gd name="T26" fmla="*/ 139 w 301"/>
                  <a:gd name="T27" fmla="*/ 35 h 219"/>
                  <a:gd name="T28" fmla="*/ 119 w 301"/>
                  <a:gd name="T29" fmla="*/ 0 h 219"/>
                  <a:gd name="T30" fmla="*/ 21 w 301"/>
                  <a:gd name="T31" fmla="*/ 69 h 219"/>
                  <a:gd name="T32" fmla="*/ 0 w 301"/>
                  <a:gd name="T33" fmla="*/ 147 h 219"/>
                  <a:gd name="T34" fmla="*/ 0 w 301"/>
                  <a:gd name="T35" fmla="*/ 158 h 219"/>
                  <a:gd name="T36" fmla="*/ 0 w 301"/>
                  <a:gd name="T37" fmla="*/ 169 h 219"/>
                  <a:gd name="T38" fmla="*/ 0 w 301"/>
                  <a:gd name="T39" fmla="*/ 192 h 219"/>
                  <a:gd name="T40" fmla="*/ 2 w 301"/>
                  <a:gd name="T41" fmla="*/ 203 h 219"/>
                  <a:gd name="T42" fmla="*/ 27 w 301"/>
                  <a:gd name="T43" fmla="*/ 219 h 219"/>
                  <a:gd name="T44" fmla="*/ 273 w 301"/>
                  <a:gd name="T45" fmla="*/ 219 h 219"/>
                  <a:gd name="T46" fmla="*/ 298 w 301"/>
                  <a:gd name="T47" fmla="*/ 203 h 219"/>
                  <a:gd name="T48" fmla="*/ 301 w 301"/>
                  <a:gd name="T49" fmla="*/ 192 h 219"/>
                  <a:gd name="T50" fmla="*/ 301 w 301"/>
                  <a:gd name="T51" fmla="*/ 169 h 219"/>
                  <a:gd name="T52" fmla="*/ 301 w 301"/>
                  <a:gd name="T53" fmla="*/ 158 h 219"/>
                  <a:gd name="T54" fmla="*/ 301 w 301"/>
                  <a:gd name="T55" fmla="*/ 147 h 219"/>
                  <a:gd name="T56" fmla="*/ 298 w 301"/>
                  <a:gd name="T57" fmla="*/ 118 h 219"/>
                  <a:gd name="T58" fmla="*/ 298 w 301"/>
                  <a:gd name="T59" fmla="*/ 116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1" h="219">
                    <a:moveTo>
                      <a:pt x="298" y="116"/>
                    </a:moveTo>
                    <a:cubicBezTo>
                      <a:pt x="296" y="107"/>
                      <a:pt x="293" y="99"/>
                      <a:pt x="290" y="91"/>
                    </a:cubicBezTo>
                    <a:cubicBezTo>
                      <a:pt x="271" y="45"/>
                      <a:pt x="231" y="10"/>
                      <a:pt x="182" y="0"/>
                    </a:cubicBezTo>
                    <a:cubicBezTo>
                      <a:pt x="161" y="35"/>
                      <a:pt x="161" y="35"/>
                      <a:pt x="161" y="35"/>
                    </a:cubicBezTo>
                    <a:cubicBezTo>
                      <a:pt x="175" y="82"/>
                      <a:pt x="175" y="82"/>
                      <a:pt x="175" y="82"/>
                    </a:cubicBezTo>
                    <a:cubicBezTo>
                      <a:pt x="184" y="109"/>
                      <a:pt x="184" y="109"/>
                      <a:pt x="184" y="109"/>
                    </a:cubicBezTo>
                    <a:cubicBezTo>
                      <a:pt x="184" y="109"/>
                      <a:pt x="184" y="109"/>
                      <a:pt x="184" y="109"/>
                    </a:cubicBezTo>
                    <a:cubicBezTo>
                      <a:pt x="155" y="156"/>
                      <a:pt x="155" y="156"/>
                      <a:pt x="155" y="156"/>
                    </a:cubicBezTo>
                    <a:cubicBezTo>
                      <a:pt x="150" y="164"/>
                      <a:pt x="150" y="164"/>
                      <a:pt x="150" y="164"/>
                    </a:cubicBezTo>
                    <a:cubicBezTo>
                      <a:pt x="150" y="163"/>
                      <a:pt x="150" y="163"/>
                      <a:pt x="150" y="163"/>
                    </a:cubicBezTo>
                    <a:cubicBezTo>
                      <a:pt x="117" y="109"/>
                      <a:pt x="117" y="109"/>
                      <a:pt x="117" y="109"/>
                    </a:cubicBezTo>
                    <a:cubicBezTo>
                      <a:pt x="117" y="109"/>
                      <a:pt x="117" y="109"/>
                      <a:pt x="117" y="109"/>
                    </a:cubicBezTo>
                    <a:cubicBezTo>
                      <a:pt x="127" y="77"/>
                      <a:pt x="127" y="77"/>
                      <a:pt x="127" y="77"/>
                    </a:cubicBezTo>
                    <a:cubicBezTo>
                      <a:pt x="139" y="35"/>
                      <a:pt x="139" y="35"/>
                      <a:pt x="139" y="35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78" y="9"/>
                      <a:pt x="43" y="34"/>
                      <a:pt x="21" y="69"/>
                    </a:cubicBezTo>
                    <a:cubicBezTo>
                      <a:pt x="8" y="92"/>
                      <a:pt x="0" y="119"/>
                      <a:pt x="0" y="147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9"/>
                      <a:pt x="0" y="169"/>
                      <a:pt x="0" y="169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196"/>
                      <a:pt x="1" y="200"/>
                      <a:pt x="2" y="203"/>
                    </a:cubicBezTo>
                    <a:cubicBezTo>
                      <a:pt x="7" y="213"/>
                      <a:pt x="16" y="219"/>
                      <a:pt x="27" y="219"/>
                    </a:cubicBezTo>
                    <a:cubicBezTo>
                      <a:pt x="273" y="219"/>
                      <a:pt x="273" y="219"/>
                      <a:pt x="273" y="219"/>
                    </a:cubicBezTo>
                    <a:cubicBezTo>
                      <a:pt x="284" y="219"/>
                      <a:pt x="294" y="213"/>
                      <a:pt x="298" y="203"/>
                    </a:cubicBezTo>
                    <a:cubicBezTo>
                      <a:pt x="300" y="200"/>
                      <a:pt x="301" y="196"/>
                      <a:pt x="301" y="192"/>
                    </a:cubicBezTo>
                    <a:cubicBezTo>
                      <a:pt x="301" y="169"/>
                      <a:pt x="301" y="169"/>
                      <a:pt x="301" y="169"/>
                    </a:cubicBezTo>
                    <a:cubicBezTo>
                      <a:pt x="301" y="158"/>
                      <a:pt x="301" y="158"/>
                      <a:pt x="301" y="158"/>
                    </a:cubicBezTo>
                    <a:cubicBezTo>
                      <a:pt x="301" y="147"/>
                      <a:pt x="301" y="147"/>
                      <a:pt x="301" y="147"/>
                    </a:cubicBezTo>
                    <a:cubicBezTo>
                      <a:pt x="301" y="137"/>
                      <a:pt x="300" y="127"/>
                      <a:pt x="298" y="118"/>
                    </a:cubicBezTo>
                    <a:cubicBezTo>
                      <a:pt x="298" y="117"/>
                      <a:pt x="298" y="117"/>
                      <a:pt x="298" y="1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53" tIns="45727" rIns="91453" bIns="4572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sp>
          <p:nvSpPr>
            <p:cNvPr id="1035" name="Freeform 14">
              <a:extLst>
                <a:ext uri="{FF2B5EF4-FFF2-40B4-BE49-F238E27FC236}">
                  <a16:creationId xmlns:a16="http://schemas.microsoft.com/office/drawing/2014/main" id="{4649836B-3EF5-27D5-352B-B394138BF2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299" y="2409884"/>
              <a:ext cx="174951" cy="129835"/>
            </a:xfrm>
            <a:custGeom>
              <a:avLst/>
              <a:gdLst>
                <a:gd name="T0" fmla="*/ 547 w 547"/>
                <a:gd name="T1" fmla="*/ 320 h 406"/>
                <a:gd name="T2" fmla="*/ 547 w 547"/>
                <a:gd name="T3" fmla="*/ 34 h 406"/>
                <a:gd name="T4" fmla="*/ 513 w 547"/>
                <a:gd name="T5" fmla="*/ 0 h 406"/>
                <a:gd name="T6" fmla="*/ 274 w 547"/>
                <a:gd name="T7" fmla="*/ 0 h 406"/>
                <a:gd name="T8" fmla="*/ 34 w 547"/>
                <a:gd name="T9" fmla="*/ 0 h 406"/>
                <a:gd name="T10" fmla="*/ 0 w 547"/>
                <a:gd name="T11" fmla="*/ 34 h 406"/>
                <a:gd name="T12" fmla="*/ 0 w 547"/>
                <a:gd name="T13" fmla="*/ 320 h 406"/>
                <a:gd name="T14" fmla="*/ 34 w 547"/>
                <a:gd name="T15" fmla="*/ 354 h 406"/>
                <a:gd name="T16" fmla="*/ 224 w 547"/>
                <a:gd name="T17" fmla="*/ 354 h 406"/>
                <a:gd name="T18" fmla="*/ 224 w 547"/>
                <a:gd name="T19" fmla="*/ 354 h 406"/>
                <a:gd name="T20" fmla="*/ 224 w 547"/>
                <a:gd name="T21" fmla="*/ 374 h 406"/>
                <a:gd name="T22" fmla="*/ 11 w 547"/>
                <a:gd name="T23" fmla="*/ 374 h 406"/>
                <a:gd name="T24" fmla="*/ 0 w 547"/>
                <a:gd name="T25" fmla="*/ 384 h 406"/>
                <a:gd name="T26" fmla="*/ 0 w 547"/>
                <a:gd name="T27" fmla="*/ 396 h 406"/>
                <a:gd name="T28" fmla="*/ 11 w 547"/>
                <a:gd name="T29" fmla="*/ 406 h 406"/>
                <a:gd name="T30" fmla="*/ 274 w 547"/>
                <a:gd name="T31" fmla="*/ 406 h 406"/>
                <a:gd name="T32" fmla="*/ 537 w 547"/>
                <a:gd name="T33" fmla="*/ 406 h 406"/>
                <a:gd name="T34" fmla="*/ 547 w 547"/>
                <a:gd name="T35" fmla="*/ 396 h 406"/>
                <a:gd name="T36" fmla="*/ 547 w 547"/>
                <a:gd name="T37" fmla="*/ 384 h 406"/>
                <a:gd name="T38" fmla="*/ 537 w 547"/>
                <a:gd name="T39" fmla="*/ 374 h 406"/>
                <a:gd name="T40" fmla="*/ 324 w 547"/>
                <a:gd name="T41" fmla="*/ 374 h 406"/>
                <a:gd name="T42" fmla="*/ 324 w 547"/>
                <a:gd name="T43" fmla="*/ 354 h 406"/>
                <a:gd name="T44" fmla="*/ 324 w 547"/>
                <a:gd name="T45" fmla="*/ 354 h 406"/>
                <a:gd name="T46" fmla="*/ 513 w 547"/>
                <a:gd name="T47" fmla="*/ 354 h 406"/>
                <a:gd name="T48" fmla="*/ 547 w 547"/>
                <a:gd name="T49" fmla="*/ 320 h 406"/>
                <a:gd name="T50" fmla="*/ 512 w 547"/>
                <a:gd name="T51" fmla="*/ 314 h 406"/>
                <a:gd name="T52" fmla="*/ 501 w 547"/>
                <a:gd name="T53" fmla="*/ 324 h 406"/>
                <a:gd name="T54" fmla="*/ 274 w 547"/>
                <a:gd name="T55" fmla="*/ 324 h 406"/>
                <a:gd name="T56" fmla="*/ 46 w 547"/>
                <a:gd name="T57" fmla="*/ 324 h 406"/>
                <a:gd name="T58" fmla="*/ 36 w 547"/>
                <a:gd name="T59" fmla="*/ 314 h 406"/>
                <a:gd name="T60" fmla="*/ 36 w 547"/>
                <a:gd name="T61" fmla="*/ 42 h 406"/>
                <a:gd name="T62" fmla="*/ 46 w 547"/>
                <a:gd name="T63" fmla="*/ 32 h 406"/>
                <a:gd name="T64" fmla="*/ 274 w 547"/>
                <a:gd name="T65" fmla="*/ 32 h 406"/>
                <a:gd name="T66" fmla="*/ 501 w 547"/>
                <a:gd name="T67" fmla="*/ 32 h 406"/>
                <a:gd name="T68" fmla="*/ 512 w 547"/>
                <a:gd name="T69" fmla="*/ 42 h 406"/>
                <a:gd name="T70" fmla="*/ 512 w 547"/>
                <a:gd name="T71" fmla="*/ 31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7" h="406">
                  <a:moveTo>
                    <a:pt x="547" y="320"/>
                  </a:moveTo>
                  <a:cubicBezTo>
                    <a:pt x="547" y="34"/>
                    <a:pt x="547" y="34"/>
                    <a:pt x="547" y="34"/>
                  </a:cubicBezTo>
                  <a:cubicBezTo>
                    <a:pt x="547" y="15"/>
                    <a:pt x="532" y="0"/>
                    <a:pt x="513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9"/>
                    <a:pt x="16" y="354"/>
                    <a:pt x="34" y="354"/>
                  </a:cubicBezTo>
                  <a:cubicBezTo>
                    <a:pt x="224" y="354"/>
                    <a:pt x="224" y="354"/>
                    <a:pt x="224" y="354"/>
                  </a:cubicBezTo>
                  <a:cubicBezTo>
                    <a:pt x="224" y="354"/>
                    <a:pt x="224" y="354"/>
                    <a:pt x="224" y="354"/>
                  </a:cubicBezTo>
                  <a:cubicBezTo>
                    <a:pt x="224" y="374"/>
                    <a:pt x="224" y="374"/>
                    <a:pt x="224" y="374"/>
                  </a:cubicBezTo>
                  <a:cubicBezTo>
                    <a:pt x="11" y="374"/>
                    <a:pt x="11" y="374"/>
                    <a:pt x="11" y="374"/>
                  </a:cubicBezTo>
                  <a:cubicBezTo>
                    <a:pt x="5" y="374"/>
                    <a:pt x="0" y="378"/>
                    <a:pt x="0" y="384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2"/>
                    <a:pt x="5" y="406"/>
                    <a:pt x="11" y="406"/>
                  </a:cubicBezTo>
                  <a:cubicBezTo>
                    <a:pt x="274" y="406"/>
                    <a:pt x="274" y="406"/>
                    <a:pt x="274" y="406"/>
                  </a:cubicBezTo>
                  <a:cubicBezTo>
                    <a:pt x="537" y="406"/>
                    <a:pt x="537" y="406"/>
                    <a:pt x="537" y="406"/>
                  </a:cubicBezTo>
                  <a:cubicBezTo>
                    <a:pt x="543" y="406"/>
                    <a:pt x="547" y="402"/>
                    <a:pt x="547" y="396"/>
                  </a:cubicBezTo>
                  <a:cubicBezTo>
                    <a:pt x="547" y="384"/>
                    <a:pt x="547" y="384"/>
                    <a:pt x="547" y="384"/>
                  </a:cubicBezTo>
                  <a:cubicBezTo>
                    <a:pt x="547" y="378"/>
                    <a:pt x="543" y="374"/>
                    <a:pt x="537" y="374"/>
                  </a:cubicBezTo>
                  <a:cubicBezTo>
                    <a:pt x="324" y="374"/>
                    <a:pt x="324" y="374"/>
                    <a:pt x="324" y="374"/>
                  </a:cubicBezTo>
                  <a:cubicBezTo>
                    <a:pt x="324" y="354"/>
                    <a:pt x="324" y="354"/>
                    <a:pt x="324" y="354"/>
                  </a:cubicBezTo>
                  <a:cubicBezTo>
                    <a:pt x="324" y="354"/>
                    <a:pt x="324" y="354"/>
                    <a:pt x="324" y="354"/>
                  </a:cubicBezTo>
                  <a:cubicBezTo>
                    <a:pt x="513" y="354"/>
                    <a:pt x="513" y="354"/>
                    <a:pt x="513" y="354"/>
                  </a:cubicBezTo>
                  <a:cubicBezTo>
                    <a:pt x="532" y="354"/>
                    <a:pt x="547" y="339"/>
                    <a:pt x="547" y="320"/>
                  </a:cubicBezTo>
                  <a:close/>
                  <a:moveTo>
                    <a:pt x="512" y="314"/>
                  </a:moveTo>
                  <a:cubicBezTo>
                    <a:pt x="512" y="320"/>
                    <a:pt x="507" y="324"/>
                    <a:pt x="501" y="324"/>
                  </a:cubicBezTo>
                  <a:cubicBezTo>
                    <a:pt x="274" y="324"/>
                    <a:pt x="274" y="324"/>
                    <a:pt x="274" y="324"/>
                  </a:cubicBezTo>
                  <a:cubicBezTo>
                    <a:pt x="46" y="324"/>
                    <a:pt x="46" y="324"/>
                    <a:pt x="46" y="324"/>
                  </a:cubicBezTo>
                  <a:cubicBezTo>
                    <a:pt x="41" y="324"/>
                    <a:pt x="36" y="320"/>
                    <a:pt x="36" y="314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36"/>
                    <a:pt x="41" y="32"/>
                    <a:pt x="46" y="32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501" y="32"/>
                    <a:pt x="501" y="32"/>
                    <a:pt x="501" y="32"/>
                  </a:cubicBezTo>
                  <a:cubicBezTo>
                    <a:pt x="507" y="32"/>
                    <a:pt x="512" y="36"/>
                    <a:pt x="512" y="42"/>
                  </a:cubicBezTo>
                  <a:lnTo>
                    <a:pt x="512" y="3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53" tIns="45727" rIns="91453" bIns="457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033" name="TextBox 1032">
            <a:extLst>
              <a:ext uri="{FF2B5EF4-FFF2-40B4-BE49-F238E27FC236}">
                <a16:creationId xmlns:a16="http://schemas.microsoft.com/office/drawing/2014/main" id="{75B945E5-506C-92B5-BC10-8A6BD07BB707}"/>
              </a:ext>
            </a:extLst>
          </p:cNvPr>
          <p:cNvSpPr txBox="1"/>
          <p:nvPr/>
        </p:nvSpPr>
        <p:spPr>
          <a:xfrm>
            <a:off x="6200937" y="3467289"/>
            <a:ext cx="53989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-30" normalizeH="0" baseline="0" noProof="0" dirty="0">
                <a:ln>
                  <a:solidFill>
                    <a:prstClr val="black">
                      <a:lumMod val="75000"/>
                      <a:lumOff val="25000"/>
                      <a:alpha val="4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Designer</a:t>
            </a:r>
            <a:endParaRPr kumimoji="1" lang="ko-KR" altLang="en-US" sz="1100" b="0" i="0" u="none" strike="noStrike" kern="0" cap="none" spc="-30" normalizeH="0" baseline="0" noProof="0" dirty="0">
              <a:ln>
                <a:solidFill>
                  <a:prstClr val="black">
                    <a:lumMod val="75000"/>
                    <a:lumOff val="25000"/>
                    <a:alpha val="4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39" name="TextBox 1038">
            <a:extLst>
              <a:ext uri="{FF2B5EF4-FFF2-40B4-BE49-F238E27FC236}">
                <a16:creationId xmlns:a16="http://schemas.microsoft.com/office/drawing/2014/main" id="{AD31007A-EAAC-297A-D0C4-6D1A62D9DD25}"/>
              </a:ext>
            </a:extLst>
          </p:cNvPr>
          <p:cNvSpPr txBox="1"/>
          <p:nvPr/>
        </p:nvSpPr>
        <p:spPr>
          <a:xfrm>
            <a:off x="5725866" y="3413097"/>
            <a:ext cx="5425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ko-KR" sz="1200" b="0" i="0" u="none" strike="noStrike" kern="0" cap="none" spc="-30" normalizeH="0" baseline="0" noProof="0" dirty="0">
                <a:ln>
                  <a:solidFill>
                    <a:prstClr val="black">
                      <a:lumMod val="75000"/>
                      <a:lumOff val="25000"/>
                      <a:alpha val="4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BOT</a:t>
            </a:r>
            <a:endParaRPr lang="ko-KR" altLang="en-US" sz="1200" dirty="0"/>
          </a:p>
        </p:txBody>
      </p:sp>
      <p:cxnSp>
        <p:nvCxnSpPr>
          <p:cNvPr id="1040" name="직선 화살표 연결선 1039">
            <a:extLst>
              <a:ext uri="{FF2B5EF4-FFF2-40B4-BE49-F238E27FC236}">
                <a16:creationId xmlns:a16="http://schemas.microsoft.com/office/drawing/2014/main" id="{3A3EBCD9-86E5-C999-C137-9A581FD7B55B}"/>
              </a:ext>
            </a:extLst>
          </p:cNvPr>
          <p:cNvCxnSpPr>
            <a:cxnSpLocks/>
            <a:stCxn id="1026" idx="2"/>
            <a:endCxn id="18" idx="0"/>
          </p:cNvCxnSpPr>
          <p:nvPr/>
        </p:nvCxnSpPr>
        <p:spPr bwMode="auto">
          <a:xfrm flipH="1">
            <a:off x="8229277" y="3150089"/>
            <a:ext cx="6898" cy="45825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044" name="직선 화살표 연결선 1043">
            <a:extLst>
              <a:ext uri="{FF2B5EF4-FFF2-40B4-BE49-F238E27FC236}">
                <a16:creationId xmlns:a16="http://schemas.microsoft.com/office/drawing/2014/main" id="{4EFDE93F-B198-441E-C5AF-7BD8081EFEAF}"/>
              </a:ext>
            </a:extLst>
          </p:cNvPr>
          <p:cNvCxnSpPr>
            <a:cxnSpLocks/>
            <a:stCxn id="18" idx="2"/>
            <a:endCxn id="20" idx="0"/>
          </p:cNvCxnSpPr>
          <p:nvPr/>
        </p:nvCxnSpPr>
        <p:spPr bwMode="auto">
          <a:xfrm>
            <a:off x="8229277" y="4476298"/>
            <a:ext cx="14708" cy="397208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grpSp>
        <p:nvGrpSpPr>
          <p:cNvPr id="1047" name="그룹 1046">
            <a:extLst>
              <a:ext uri="{FF2B5EF4-FFF2-40B4-BE49-F238E27FC236}">
                <a16:creationId xmlns:a16="http://schemas.microsoft.com/office/drawing/2014/main" id="{842B3ADE-0CA8-376D-5926-122479B675FA}"/>
              </a:ext>
            </a:extLst>
          </p:cNvPr>
          <p:cNvGrpSpPr/>
          <p:nvPr/>
        </p:nvGrpSpPr>
        <p:grpSpPr>
          <a:xfrm>
            <a:off x="8040190" y="5024350"/>
            <a:ext cx="355242" cy="335642"/>
            <a:chOff x="3902299" y="2347774"/>
            <a:chExt cx="276783" cy="191945"/>
          </a:xfrm>
          <a:solidFill>
            <a:sysClr val="window" lastClr="FFFFFF">
              <a:lumMod val="50000"/>
            </a:sysClr>
          </a:solidFill>
        </p:grpSpPr>
        <p:grpSp>
          <p:nvGrpSpPr>
            <p:cNvPr id="1048" name="그룹 1047">
              <a:extLst>
                <a:ext uri="{FF2B5EF4-FFF2-40B4-BE49-F238E27FC236}">
                  <a16:creationId xmlns:a16="http://schemas.microsoft.com/office/drawing/2014/main" id="{65526574-0BB0-24C6-3DC8-7F652B6404CF}"/>
                </a:ext>
              </a:extLst>
            </p:cNvPr>
            <p:cNvGrpSpPr/>
            <p:nvPr/>
          </p:nvGrpSpPr>
          <p:grpSpPr>
            <a:xfrm>
              <a:off x="4047721" y="2347774"/>
              <a:ext cx="131361" cy="191945"/>
              <a:chOff x="4145657" y="2347774"/>
              <a:chExt cx="177181" cy="258897"/>
            </a:xfrm>
            <a:grpFill/>
          </p:grpSpPr>
          <p:sp>
            <p:nvSpPr>
              <p:cNvPr id="1050" name="Freeform 38">
                <a:extLst>
                  <a:ext uri="{FF2B5EF4-FFF2-40B4-BE49-F238E27FC236}">
                    <a16:creationId xmlns:a16="http://schemas.microsoft.com/office/drawing/2014/main" id="{8B1008F6-C5D9-09ED-A8CF-6E760DFA8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574" y="2347774"/>
                <a:ext cx="127349" cy="127349"/>
              </a:xfrm>
              <a:custGeom>
                <a:avLst/>
                <a:gdLst>
                  <a:gd name="T0" fmla="*/ 66 w 216"/>
                  <a:gd name="T1" fmla="*/ 207 h 216"/>
                  <a:gd name="T2" fmla="*/ 108 w 216"/>
                  <a:gd name="T3" fmla="*/ 216 h 216"/>
                  <a:gd name="T4" fmla="*/ 154 w 216"/>
                  <a:gd name="T5" fmla="*/ 206 h 216"/>
                  <a:gd name="T6" fmla="*/ 216 w 216"/>
                  <a:gd name="T7" fmla="*/ 108 h 216"/>
                  <a:gd name="T8" fmla="*/ 214 w 216"/>
                  <a:gd name="T9" fmla="*/ 89 h 216"/>
                  <a:gd name="T10" fmla="*/ 108 w 216"/>
                  <a:gd name="T11" fmla="*/ 0 h 216"/>
                  <a:gd name="T12" fmla="*/ 2 w 216"/>
                  <a:gd name="T13" fmla="*/ 88 h 216"/>
                  <a:gd name="T14" fmla="*/ 0 w 216"/>
                  <a:gd name="T15" fmla="*/ 108 h 216"/>
                  <a:gd name="T16" fmla="*/ 66 w 216"/>
                  <a:gd name="T17" fmla="*/ 20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" h="216">
                    <a:moveTo>
                      <a:pt x="66" y="207"/>
                    </a:moveTo>
                    <a:cubicBezTo>
                      <a:pt x="79" y="213"/>
                      <a:pt x="93" y="216"/>
                      <a:pt x="108" y="216"/>
                    </a:cubicBezTo>
                    <a:cubicBezTo>
                      <a:pt x="125" y="216"/>
                      <a:pt x="140" y="212"/>
                      <a:pt x="154" y="206"/>
                    </a:cubicBezTo>
                    <a:cubicBezTo>
                      <a:pt x="191" y="188"/>
                      <a:pt x="216" y="151"/>
                      <a:pt x="216" y="108"/>
                    </a:cubicBezTo>
                    <a:cubicBezTo>
                      <a:pt x="216" y="101"/>
                      <a:pt x="216" y="95"/>
                      <a:pt x="214" y="89"/>
                    </a:cubicBezTo>
                    <a:cubicBezTo>
                      <a:pt x="205" y="38"/>
                      <a:pt x="161" y="0"/>
                      <a:pt x="108" y="0"/>
                    </a:cubicBezTo>
                    <a:cubicBezTo>
                      <a:pt x="55" y="0"/>
                      <a:pt x="12" y="38"/>
                      <a:pt x="2" y="88"/>
                    </a:cubicBezTo>
                    <a:cubicBezTo>
                      <a:pt x="1" y="94"/>
                      <a:pt x="0" y="101"/>
                      <a:pt x="0" y="108"/>
                    </a:cubicBezTo>
                    <a:cubicBezTo>
                      <a:pt x="0" y="152"/>
                      <a:pt x="28" y="191"/>
                      <a:pt x="66" y="20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53" tIns="45727" rIns="91453" bIns="4572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1051" name="Freeform 39">
                <a:extLst>
                  <a:ext uri="{FF2B5EF4-FFF2-40B4-BE49-F238E27FC236}">
                    <a16:creationId xmlns:a16="http://schemas.microsoft.com/office/drawing/2014/main" id="{75662A9F-E52E-9074-3117-6F4A865F8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5657" y="2477476"/>
                <a:ext cx="177181" cy="129195"/>
              </a:xfrm>
              <a:custGeom>
                <a:avLst/>
                <a:gdLst>
                  <a:gd name="T0" fmla="*/ 298 w 301"/>
                  <a:gd name="T1" fmla="*/ 116 h 219"/>
                  <a:gd name="T2" fmla="*/ 290 w 301"/>
                  <a:gd name="T3" fmla="*/ 91 h 219"/>
                  <a:gd name="T4" fmla="*/ 182 w 301"/>
                  <a:gd name="T5" fmla="*/ 0 h 219"/>
                  <a:gd name="T6" fmla="*/ 161 w 301"/>
                  <a:gd name="T7" fmla="*/ 35 h 219"/>
                  <a:gd name="T8" fmla="*/ 175 w 301"/>
                  <a:gd name="T9" fmla="*/ 82 h 219"/>
                  <a:gd name="T10" fmla="*/ 184 w 301"/>
                  <a:gd name="T11" fmla="*/ 109 h 219"/>
                  <a:gd name="T12" fmla="*/ 184 w 301"/>
                  <a:gd name="T13" fmla="*/ 109 h 219"/>
                  <a:gd name="T14" fmla="*/ 155 w 301"/>
                  <a:gd name="T15" fmla="*/ 156 h 219"/>
                  <a:gd name="T16" fmla="*/ 150 w 301"/>
                  <a:gd name="T17" fmla="*/ 164 h 219"/>
                  <a:gd name="T18" fmla="*/ 150 w 301"/>
                  <a:gd name="T19" fmla="*/ 163 h 219"/>
                  <a:gd name="T20" fmla="*/ 117 w 301"/>
                  <a:gd name="T21" fmla="*/ 109 h 219"/>
                  <a:gd name="T22" fmla="*/ 117 w 301"/>
                  <a:gd name="T23" fmla="*/ 109 h 219"/>
                  <a:gd name="T24" fmla="*/ 127 w 301"/>
                  <a:gd name="T25" fmla="*/ 77 h 219"/>
                  <a:gd name="T26" fmla="*/ 139 w 301"/>
                  <a:gd name="T27" fmla="*/ 35 h 219"/>
                  <a:gd name="T28" fmla="*/ 119 w 301"/>
                  <a:gd name="T29" fmla="*/ 0 h 219"/>
                  <a:gd name="T30" fmla="*/ 21 w 301"/>
                  <a:gd name="T31" fmla="*/ 69 h 219"/>
                  <a:gd name="T32" fmla="*/ 0 w 301"/>
                  <a:gd name="T33" fmla="*/ 147 h 219"/>
                  <a:gd name="T34" fmla="*/ 0 w 301"/>
                  <a:gd name="T35" fmla="*/ 158 h 219"/>
                  <a:gd name="T36" fmla="*/ 0 w 301"/>
                  <a:gd name="T37" fmla="*/ 169 h 219"/>
                  <a:gd name="T38" fmla="*/ 0 w 301"/>
                  <a:gd name="T39" fmla="*/ 192 h 219"/>
                  <a:gd name="T40" fmla="*/ 2 w 301"/>
                  <a:gd name="T41" fmla="*/ 203 h 219"/>
                  <a:gd name="T42" fmla="*/ 27 w 301"/>
                  <a:gd name="T43" fmla="*/ 219 h 219"/>
                  <a:gd name="T44" fmla="*/ 273 w 301"/>
                  <a:gd name="T45" fmla="*/ 219 h 219"/>
                  <a:gd name="T46" fmla="*/ 298 w 301"/>
                  <a:gd name="T47" fmla="*/ 203 h 219"/>
                  <a:gd name="T48" fmla="*/ 301 w 301"/>
                  <a:gd name="T49" fmla="*/ 192 h 219"/>
                  <a:gd name="T50" fmla="*/ 301 w 301"/>
                  <a:gd name="T51" fmla="*/ 169 h 219"/>
                  <a:gd name="T52" fmla="*/ 301 w 301"/>
                  <a:gd name="T53" fmla="*/ 158 h 219"/>
                  <a:gd name="T54" fmla="*/ 301 w 301"/>
                  <a:gd name="T55" fmla="*/ 147 h 219"/>
                  <a:gd name="T56" fmla="*/ 298 w 301"/>
                  <a:gd name="T57" fmla="*/ 118 h 219"/>
                  <a:gd name="T58" fmla="*/ 298 w 301"/>
                  <a:gd name="T59" fmla="*/ 116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1" h="219">
                    <a:moveTo>
                      <a:pt x="298" y="116"/>
                    </a:moveTo>
                    <a:cubicBezTo>
                      <a:pt x="296" y="107"/>
                      <a:pt x="293" y="99"/>
                      <a:pt x="290" y="91"/>
                    </a:cubicBezTo>
                    <a:cubicBezTo>
                      <a:pt x="271" y="45"/>
                      <a:pt x="231" y="10"/>
                      <a:pt x="182" y="0"/>
                    </a:cubicBezTo>
                    <a:cubicBezTo>
                      <a:pt x="161" y="35"/>
                      <a:pt x="161" y="35"/>
                      <a:pt x="161" y="35"/>
                    </a:cubicBezTo>
                    <a:cubicBezTo>
                      <a:pt x="175" y="82"/>
                      <a:pt x="175" y="82"/>
                      <a:pt x="175" y="82"/>
                    </a:cubicBezTo>
                    <a:cubicBezTo>
                      <a:pt x="184" y="109"/>
                      <a:pt x="184" y="109"/>
                      <a:pt x="184" y="109"/>
                    </a:cubicBezTo>
                    <a:cubicBezTo>
                      <a:pt x="184" y="109"/>
                      <a:pt x="184" y="109"/>
                      <a:pt x="184" y="109"/>
                    </a:cubicBezTo>
                    <a:cubicBezTo>
                      <a:pt x="155" y="156"/>
                      <a:pt x="155" y="156"/>
                      <a:pt x="155" y="156"/>
                    </a:cubicBezTo>
                    <a:cubicBezTo>
                      <a:pt x="150" y="164"/>
                      <a:pt x="150" y="164"/>
                      <a:pt x="150" y="164"/>
                    </a:cubicBezTo>
                    <a:cubicBezTo>
                      <a:pt x="150" y="163"/>
                      <a:pt x="150" y="163"/>
                      <a:pt x="150" y="163"/>
                    </a:cubicBezTo>
                    <a:cubicBezTo>
                      <a:pt x="117" y="109"/>
                      <a:pt x="117" y="109"/>
                      <a:pt x="117" y="109"/>
                    </a:cubicBezTo>
                    <a:cubicBezTo>
                      <a:pt x="117" y="109"/>
                      <a:pt x="117" y="109"/>
                      <a:pt x="117" y="109"/>
                    </a:cubicBezTo>
                    <a:cubicBezTo>
                      <a:pt x="127" y="77"/>
                      <a:pt x="127" y="77"/>
                      <a:pt x="127" y="77"/>
                    </a:cubicBezTo>
                    <a:cubicBezTo>
                      <a:pt x="139" y="35"/>
                      <a:pt x="139" y="35"/>
                      <a:pt x="139" y="35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78" y="9"/>
                      <a:pt x="43" y="34"/>
                      <a:pt x="21" y="69"/>
                    </a:cubicBezTo>
                    <a:cubicBezTo>
                      <a:pt x="8" y="92"/>
                      <a:pt x="0" y="119"/>
                      <a:pt x="0" y="147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9"/>
                      <a:pt x="0" y="169"/>
                      <a:pt x="0" y="169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196"/>
                      <a:pt x="1" y="200"/>
                      <a:pt x="2" y="203"/>
                    </a:cubicBezTo>
                    <a:cubicBezTo>
                      <a:pt x="7" y="213"/>
                      <a:pt x="16" y="219"/>
                      <a:pt x="27" y="219"/>
                    </a:cubicBezTo>
                    <a:cubicBezTo>
                      <a:pt x="273" y="219"/>
                      <a:pt x="273" y="219"/>
                      <a:pt x="273" y="219"/>
                    </a:cubicBezTo>
                    <a:cubicBezTo>
                      <a:pt x="284" y="219"/>
                      <a:pt x="294" y="213"/>
                      <a:pt x="298" y="203"/>
                    </a:cubicBezTo>
                    <a:cubicBezTo>
                      <a:pt x="300" y="200"/>
                      <a:pt x="301" y="196"/>
                      <a:pt x="301" y="192"/>
                    </a:cubicBezTo>
                    <a:cubicBezTo>
                      <a:pt x="301" y="169"/>
                      <a:pt x="301" y="169"/>
                      <a:pt x="301" y="169"/>
                    </a:cubicBezTo>
                    <a:cubicBezTo>
                      <a:pt x="301" y="158"/>
                      <a:pt x="301" y="158"/>
                      <a:pt x="301" y="158"/>
                    </a:cubicBezTo>
                    <a:cubicBezTo>
                      <a:pt x="301" y="147"/>
                      <a:pt x="301" y="147"/>
                      <a:pt x="301" y="147"/>
                    </a:cubicBezTo>
                    <a:cubicBezTo>
                      <a:pt x="301" y="137"/>
                      <a:pt x="300" y="127"/>
                      <a:pt x="298" y="118"/>
                    </a:cubicBezTo>
                    <a:cubicBezTo>
                      <a:pt x="298" y="117"/>
                      <a:pt x="298" y="117"/>
                      <a:pt x="298" y="1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53" tIns="45727" rIns="91453" bIns="4572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  <p:sp>
          <p:nvSpPr>
            <p:cNvPr id="1049" name="Freeform 14">
              <a:extLst>
                <a:ext uri="{FF2B5EF4-FFF2-40B4-BE49-F238E27FC236}">
                  <a16:creationId xmlns:a16="http://schemas.microsoft.com/office/drawing/2014/main" id="{8C3B96C6-983A-58A5-9184-DBE3918A1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299" y="2409884"/>
              <a:ext cx="174951" cy="129835"/>
            </a:xfrm>
            <a:custGeom>
              <a:avLst/>
              <a:gdLst>
                <a:gd name="T0" fmla="*/ 547 w 547"/>
                <a:gd name="T1" fmla="*/ 320 h 406"/>
                <a:gd name="T2" fmla="*/ 547 w 547"/>
                <a:gd name="T3" fmla="*/ 34 h 406"/>
                <a:gd name="T4" fmla="*/ 513 w 547"/>
                <a:gd name="T5" fmla="*/ 0 h 406"/>
                <a:gd name="T6" fmla="*/ 274 w 547"/>
                <a:gd name="T7" fmla="*/ 0 h 406"/>
                <a:gd name="T8" fmla="*/ 34 w 547"/>
                <a:gd name="T9" fmla="*/ 0 h 406"/>
                <a:gd name="T10" fmla="*/ 0 w 547"/>
                <a:gd name="T11" fmla="*/ 34 h 406"/>
                <a:gd name="T12" fmla="*/ 0 w 547"/>
                <a:gd name="T13" fmla="*/ 320 h 406"/>
                <a:gd name="T14" fmla="*/ 34 w 547"/>
                <a:gd name="T15" fmla="*/ 354 h 406"/>
                <a:gd name="T16" fmla="*/ 224 w 547"/>
                <a:gd name="T17" fmla="*/ 354 h 406"/>
                <a:gd name="T18" fmla="*/ 224 w 547"/>
                <a:gd name="T19" fmla="*/ 354 h 406"/>
                <a:gd name="T20" fmla="*/ 224 w 547"/>
                <a:gd name="T21" fmla="*/ 374 h 406"/>
                <a:gd name="T22" fmla="*/ 11 w 547"/>
                <a:gd name="T23" fmla="*/ 374 h 406"/>
                <a:gd name="T24" fmla="*/ 0 w 547"/>
                <a:gd name="T25" fmla="*/ 384 h 406"/>
                <a:gd name="T26" fmla="*/ 0 w 547"/>
                <a:gd name="T27" fmla="*/ 396 h 406"/>
                <a:gd name="T28" fmla="*/ 11 w 547"/>
                <a:gd name="T29" fmla="*/ 406 h 406"/>
                <a:gd name="T30" fmla="*/ 274 w 547"/>
                <a:gd name="T31" fmla="*/ 406 h 406"/>
                <a:gd name="T32" fmla="*/ 537 w 547"/>
                <a:gd name="T33" fmla="*/ 406 h 406"/>
                <a:gd name="T34" fmla="*/ 547 w 547"/>
                <a:gd name="T35" fmla="*/ 396 h 406"/>
                <a:gd name="T36" fmla="*/ 547 w 547"/>
                <a:gd name="T37" fmla="*/ 384 h 406"/>
                <a:gd name="T38" fmla="*/ 537 w 547"/>
                <a:gd name="T39" fmla="*/ 374 h 406"/>
                <a:gd name="T40" fmla="*/ 324 w 547"/>
                <a:gd name="T41" fmla="*/ 374 h 406"/>
                <a:gd name="T42" fmla="*/ 324 w 547"/>
                <a:gd name="T43" fmla="*/ 354 h 406"/>
                <a:gd name="T44" fmla="*/ 324 w 547"/>
                <a:gd name="T45" fmla="*/ 354 h 406"/>
                <a:gd name="T46" fmla="*/ 513 w 547"/>
                <a:gd name="T47" fmla="*/ 354 h 406"/>
                <a:gd name="T48" fmla="*/ 547 w 547"/>
                <a:gd name="T49" fmla="*/ 320 h 406"/>
                <a:gd name="T50" fmla="*/ 512 w 547"/>
                <a:gd name="T51" fmla="*/ 314 h 406"/>
                <a:gd name="T52" fmla="*/ 501 w 547"/>
                <a:gd name="T53" fmla="*/ 324 h 406"/>
                <a:gd name="T54" fmla="*/ 274 w 547"/>
                <a:gd name="T55" fmla="*/ 324 h 406"/>
                <a:gd name="T56" fmla="*/ 46 w 547"/>
                <a:gd name="T57" fmla="*/ 324 h 406"/>
                <a:gd name="T58" fmla="*/ 36 w 547"/>
                <a:gd name="T59" fmla="*/ 314 h 406"/>
                <a:gd name="T60" fmla="*/ 36 w 547"/>
                <a:gd name="T61" fmla="*/ 42 h 406"/>
                <a:gd name="T62" fmla="*/ 46 w 547"/>
                <a:gd name="T63" fmla="*/ 32 h 406"/>
                <a:gd name="T64" fmla="*/ 274 w 547"/>
                <a:gd name="T65" fmla="*/ 32 h 406"/>
                <a:gd name="T66" fmla="*/ 501 w 547"/>
                <a:gd name="T67" fmla="*/ 32 h 406"/>
                <a:gd name="T68" fmla="*/ 512 w 547"/>
                <a:gd name="T69" fmla="*/ 42 h 406"/>
                <a:gd name="T70" fmla="*/ 512 w 547"/>
                <a:gd name="T71" fmla="*/ 31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7" h="406">
                  <a:moveTo>
                    <a:pt x="547" y="320"/>
                  </a:moveTo>
                  <a:cubicBezTo>
                    <a:pt x="547" y="34"/>
                    <a:pt x="547" y="34"/>
                    <a:pt x="547" y="34"/>
                  </a:cubicBezTo>
                  <a:cubicBezTo>
                    <a:pt x="547" y="15"/>
                    <a:pt x="532" y="0"/>
                    <a:pt x="513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9"/>
                    <a:pt x="16" y="354"/>
                    <a:pt x="34" y="354"/>
                  </a:cubicBezTo>
                  <a:cubicBezTo>
                    <a:pt x="224" y="354"/>
                    <a:pt x="224" y="354"/>
                    <a:pt x="224" y="354"/>
                  </a:cubicBezTo>
                  <a:cubicBezTo>
                    <a:pt x="224" y="354"/>
                    <a:pt x="224" y="354"/>
                    <a:pt x="224" y="354"/>
                  </a:cubicBezTo>
                  <a:cubicBezTo>
                    <a:pt x="224" y="374"/>
                    <a:pt x="224" y="374"/>
                    <a:pt x="224" y="374"/>
                  </a:cubicBezTo>
                  <a:cubicBezTo>
                    <a:pt x="11" y="374"/>
                    <a:pt x="11" y="374"/>
                    <a:pt x="11" y="374"/>
                  </a:cubicBezTo>
                  <a:cubicBezTo>
                    <a:pt x="5" y="374"/>
                    <a:pt x="0" y="378"/>
                    <a:pt x="0" y="384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2"/>
                    <a:pt x="5" y="406"/>
                    <a:pt x="11" y="406"/>
                  </a:cubicBezTo>
                  <a:cubicBezTo>
                    <a:pt x="274" y="406"/>
                    <a:pt x="274" y="406"/>
                    <a:pt x="274" y="406"/>
                  </a:cubicBezTo>
                  <a:cubicBezTo>
                    <a:pt x="537" y="406"/>
                    <a:pt x="537" y="406"/>
                    <a:pt x="537" y="406"/>
                  </a:cubicBezTo>
                  <a:cubicBezTo>
                    <a:pt x="543" y="406"/>
                    <a:pt x="547" y="402"/>
                    <a:pt x="547" y="396"/>
                  </a:cubicBezTo>
                  <a:cubicBezTo>
                    <a:pt x="547" y="384"/>
                    <a:pt x="547" y="384"/>
                    <a:pt x="547" y="384"/>
                  </a:cubicBezTo>
                  <a:cubicBezTo>
                    <a:pt x="547" y="378"/>
                    <a:pt x="543" y="374"/>
                    <a:pt x="537" y="374"/>
                  </a:cubicBezTo>
                  <a:cubicBezTo>
                    <a:pt x="324" y="374"/>
                    <a:pt x="324" y="374"/>
                    <a:pt x="324" y="374"/>
                  </a:cubicBezTo>
                  <a:cubicBezTo>
                    <a:pt x="324" y="354"/>
                    <a:pt x="324" y="354"/>
                    <a:pt x="324" y="354"/>
                  </a:cubicBezTo>
                  <a:cubicBezTo>
                    <a:pt x="324" y="354"/>
                    <a:pt x="324" y="354"/>
                    <a:pt x="324" y="354"/>
                  </a:cubicBezTo>
                  <a:cubicBezTo>
                    <a:pt x="513" y="354"/>
                    <a:pt x="513" y="354"/>
                    <a:pt x="513" y="354"/>
                  </a:cubicBezTo>
                  <a:cubicBezTo>
                    <a:pt x="532" y="354"/>
                    <a:pt x="547" y="339"/>
                    <a:pt x="547" y="320"/>
                  </a:cubicBezTo>
                  <a:close/>
                  <a:moveTo>
                    <a:pt x="512" y="314"/>
                  </a:moveTo>
                  <a:cubicBezTo>
                    <a:pt x="512" y="320"/>
                    <a:pt x="507" y="324"/>
                    <a:pt x="501" y="324"/>
                  </a:cubicBezTo>
                  <a:cubicBezTo>
                    <a:pt x="274" y="324"/>
                    <a:pt x="274" y="324"/>
                    <a:pt x="274" y="324"/>
                  </a:cubicBezTo>
                  <a:cubicBezTo>
                    <a:pt x="46" y="324"/>
                    <a:pt x="46" y="324"/>
                    <a:pt x="46" y="324"/>
                  </a:cubicBezTo>
                  <a:cubicBezTo>
                    <a:pt x="41" y="324"/>
                    <a:pt x="36" y="320"/>
                    <a:pt x="36" y="314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36"/>
                    <a:pt x="41" y="32"/>
                    <a:pt x="46" y="32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501" y="32"/>
                    <a:pt x="501" y="32"/>
                    <a:pt x="501" y="32"/>
                  </a:cubicBezTo>
                  <a:cubicBezTo>
                    <a:pt x="507" y="32"/>
                    <a:pt x="512" y="36"/>
                    <a:pt x="512" y="42"/>
                  </a:cubicBezTo>
                  <a:lnTo>
                    <a:pt x="512" y="3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53" tIns="45727" rIns="91453" bIns="4572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052" name="TextBox 1051">
            <a:extLst>
              <a:ext uri="{FF2B5EF4-FFF2-40B4-BE49-F238E27FC236}">
                <a16:creationId xmlns:a16="http://schemas.microsoft.com/office/drawing/2014/main" id="{8D30911C-7B1E-2AE2-9A9B-9CB98CAD896F}"/>
              </a:ext>
            </a:extLst>
          </p:cNvPr>
          <p:cNvSpPr txBox="1"/>
          <p:nvPr/>
        </p:nvSpPr>
        <p:spPr>
          <a:xfrm>
            <a:off x="7969978" y="5414710"/>
            <a:ext cx="446191" cy="139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100" b="0" i="0" u="none" strike="noStrike" kern="0" cap="none" spc="-30" normalizeH="0" baseline="0" noProof="0" dirty="0">
                <a:ln>
                  <a:solidFill>
                    <a:prstClr val="black">
                      <a:lumMod val="75000"/>
                      <a:lumOff val="25000"/>
                      <a:alpha val="4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Designer</a:t>
            </a:r>
            <a:endParaRPr kumimoji="1" lang="ko-KR" altLang="en-US" sz="1100" b="0" i="0" u="none" strike="noStrike" kern="0" cap="none" spc="-30" normalizeH="0" baseline="0" noProof="0" dirty="0">
              <a:ln>
                <a:solidFill>
                  <a:prstClr val="black">
                    <a:lumMod val="75000"/>
                    <a:lumOff val="25000"/>
                    <a:alpha val="4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3282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677637-4DF1-8B5D-E0AD-D0DB20B3E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75258C3C-2CCD-D33A-81EC-FC38602C8E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083" y="800391"/>
            <a:ext cx="9032657" cy="369332"/>
          </a:xfrm>
        </p:spPr>
        <p:txBody>
          <a:bodyPr wrap="square">
            <a:spAutoFit/>
          </a:bodyPr>
          <a:lstStyle/>
          <a:p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’25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년 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09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월 이후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, </a:t>
            </a:r>
            <a:r>
              <a:rPr lang="ko-KR" altLang="en-US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유지보수 용역비용을 구체적으로 어떻게 책정 할 것인지</a:t>
            </a:r>
            <a:r>
              <a:rPr lang="en-US" altLang="ko-KR" sz="1800" kern="1200" dirty="0">
                <a:solidFill>
                  <a:schemeClr val="tx2"/>
                </a:solidFill>
                <a:latin typeface="나눔스퀘어_ac ExtraBold" panose="020B0600000101010101" pitchFamily="50" charset="-127"/>
                <a:ea typeface="나눔스퀘어_ac ExtraBold" panose="020B0600000101010101" pitchFamily="50" charset="-127"/>
              </a:rPr>
              <a:t>?</a:t>
            </a:r>
            <a:endParaRPr lang="en-US" altLang="ko-KR" sz="1800" kern="1200" dirty="0">
              <a:solidFill>
                <a:schemeClr val="bg1">
                  <a:lumMod val="50000"/>
                </a:schemeClr>
              </a:solidFill>
              <a:latin typeface="나눔스퀘어_ac ExtraBold" panose="020B0600000101010101" pitchFamily="50" charset="-127"/>
              <a:ea typeface="나눔스퀘어_ac ExtraBold" panose="020B0600000101010101" pitchFamily="50" charset="-127"/>
            </a:endParaRPr>
          </a:p>
        </p:txBody>
      </p:sp>
      <p:sp>
        <p:nvSpPr>
          <p:cNvPr id="10" name="제목 2">
            <a:extLst>
              <a:ext uri="{FF2B5EF4-FFF2-40B4-BE49-F238E27FC236}">
                <a16:creationId xmlns:a16="http://schemas.microsoft.com/office/drawing/2014/main" id="{912FF38C-60C3-CFBF-6365-466DEF58E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81" y="206829"/>
            <a:ext cx="7604916" cy="330907"/>
          </a:xfrm>
        </p:spPr>
        <p:txBody>
          <a:bodyPr/>
          <a:lstStyle/>
          <a:p>
            <a:r>
              <a:rPr lang="en-US" altLang="ko-KR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3.RPA </a:t>
            </a:r>
            <a:r>
              <a:rPr lang="ko-KR" altLang="en-US" sz="2400" dirty="0">
                <a:solidFill>
                  <a:srgbClr val="FF0000"/>
                </a:solidFill>
                <a:latin typeface="나눔스퀘어 ExtraBold" panose="020B0600000101010101" pitchFamily="50" charset="-127"/>
                <a:ea typeface="나눔스퀘어 ExtraBold" panose="020B0600000101010101" pitchFamily="50" charset="-127"/>
              </a:rPr>
              <a:t>용역비</a:t>
            </a:r>
            <a:endParaRPr lang="ko-KR" altLang="en-US" sz="1800" dirty="0">
              <a:solidFill>
                <a:srgbClr val="FF0000"/>
              </a:solidFill>
              <a:latin typeface="나눔스퀘어" panose="020B0600000101010101" pitchFamily="50" charset="-127"/>
              <a:ea typeface="나눔스퀘어" panose="020B0600000101010101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9997B53D-D7EA-B4C4-20B4-6A7F76DA5546}"/>
              </a:ext>
            </a:extLst>
          </p:cNvPr>
          <p:cNvSpPr/>
          <p:nvPr/>
        </p:nvSpPr>
        <p:spPr>
          <a:xfrm>
            <a:off x="388938" y="1321785"/>
            <a:ext cx="4202112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 defTabSz="742931" fontAlgn="base" latinLnBrk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</a:pPr>
            <a:r>
              <a:rPr lang="ko-KR" altLang="en-US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구축 용역비용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B4C2B9C8-1D72-12AD-4443-5663DBA07862}"/>
              </a:ext>
            </a:extLst>
          </p:cNvPr>
          <p:cNvSpPr/>
          <p:nvPr/>
        </p:nvSpPr>
        <p:spPr>
          <a:xfrm>
            <a:off x="5162551" y="1321785"/>
            <a:ext cx="43830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 defTabSz="742931" fontAlgn="base" latinLnBrk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</a:pPr>
            <a:r>
              <a:rPr lang="ko-KR" altLang="en-US" b="1" spc="-41" dirty="0">
                <a:solidFill>
                  <a:schemeClr val="tx2"/>
                </a:solidFill>
                <a:latin typeface="나눔스퀘어 Bold" panose="020B0600000101010101" pitchFamily="50" charset="-127"/>
                <a:ea typeface="나눔스퀘어 Bold" panose="020B0600000101010101" pitchFamily="50" charset="-127"/>
              </a:rPr>
              <a:t>유지보수 비용</a:t>
            </a: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D87D6E3-C1B9-4B48-20FE-E13F5658D4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938" y="1843180"/>
            <a:ext cx="4202112" cy="272349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194DDCE8-4464-BF17-5146-BBB25B6ED5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2141"/>
          <a:stretch/>
        </p:blipFill>
        <p:spPr>
          <a:xfrm>
            <a:off x="5108379" y="1772748"/>
            <a:ext cx="3702246" cy="4266717"/>
          </a:xfrm>
          <a:prstGeom prst="rect">
            <a:avLst/>
          </a:prstGeom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A38AF93D-A442-AECB-6BBC-14FB70BD215D}"/>
              </a:ext>
            </a:extLst>
          </p:cNvPr>
          <p:cNvSpPr/>
          <p:nvPr/>
        </p:nvSpPr>
        <p:spPr>
          <a:xfrm>
            <a:off x="5304031" y="3581923"/>
            <a:ext cx="3506594" cy="738752"/>
          </a:xfrm>
          <a:prstGeom prst="rect">
            <a:avLst/>
          </a:prstGeom>
          <a:noFill/>
          <a:ln w="571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algn="ctr"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endParaRPr lang="ko-KR" altLang="en-US" sz="2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3A0660ED-A8BA-FA0E-7322-63AD4A6DFD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7045" y="3010021"/>
            <a:ext cx="326801" cy="1143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212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00CE0FDD-9A2F-88EB-E053-5DBEFA76B96E}"/>
              </a:ext>
            </a:extLst>
          </p:cNvPr>
          <p:cNvSpPr/>
          <p:nvPr/>
        </p:nvSpPr>
        <p:spPr>
          <a:xfrm>
            <a:off x="771525" y="2231618"/>
            <a:ext cx="4800600" cy="1645057"/>
          </a:xfrm>
          <a:prstGeom prst="rect">
            <a:avLst/>
          </a:prstGeom>
          <a:solidFill>
            <a:srgbClr val="030915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0" bIns="0" rtlCol="0" anchor="ctr">
            <a:noAutofit/>
          </a:bodyPr>
          <a:lstStyle/>
          <a:p>
            <a:pPr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ko-KR" altLang="en-US" sz="3200" b="1" kern="0" dirty="0">
                <a:solidFill>
                  <a:srgbClr val="FFFFFF"/>
                </a:solidFill>
                <a:cs typeface="Arial" pitchFamily="34" charset="0"/>
              </a:rPr>
              <a:t>감사합니다</a:t>
            </a:r>
            <a:r>
              <a:rPr lang="en-US" altLang="ko-KR" sz="3200" b="1" kern="0" dirty="0">
                <a:solidFill>
                  <a:srgbClr val="FFFFFF"/>
                </a:solidFill>
                <a:cs typeface="Arial" pitchFamily="34" charset="0"/>
              </a:rPr>
              <a:t>.</a:t>
            </a:r>
          </a:p>
          <a:p>
            <a:pPr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endParaRPr lang="en-US" altLang="ko-KR" sz="2400" b="1" kern="0" dirty="0">
              <a:solidFill>
                <a:srgbClr val="FFFFFF"/>
              </a:solidFill>
              <a:cs typeface="Arial" pitchFamily="34" charset="0"/>
            </a:endParaRPr>
          </a:p>
          <a:p>
            <a:pPr latinLnBrk="0">
              <a:lnSpc>
                <a:spcPct val="120000"/>
              </a:lnSpc>
              <a:spcBef>
                <a:spcPts val="400"/>
              </a:spcBef>
              <a:buClr>
                <a:srgbClr val="646464"/>
              </a:buClr>
              <a:buSzPct val="90000"/>
            </a:pPr>
            <a:r>
              <a:rPr lang="en-US" altLang="ko-KR" sz="2400" b="1" kern="0" dirty="0">
                <a:solidFill>
                  <a:srgbClr val="FFFFFF"/>
                </a:solidFill>
                <a:cs typeface="Arial" pitchFamily="34" charset="0"/>
              </a:rPr>
              <a:t> - The End of Document</a:t>
            </a:r>
            <a:endParaRPr lang="ko-KR" altLang="en-US" sz="24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244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Y_삼성화재_RPA">
  <a:themeElements>
    <a:clrScheme name="EY dark projection-ready">
      <a:dk1>
        <a:srgbClr val="FFFFFF"/>
      </a:dk1>
      <a:lt1>
        <a:srgbClr val="FFFFFF"/>
      </a:lt1>
      <a:dk2>
        <a:srgbClr val="333333"/>
      </a:dk2>
      <a:lt2>
        <a:srgbClr val="FFD200"/>
      </a:lt2>
      <a:accent1>
        <a:srgbClr val="7F7E82"/>
      </a:accent1>
      <a:accent2>
        <a:srgbClr val="FFD200"/>
      </a:accent2>
      <a:accent3>
        <a:srgbClr val="999999"/>
      </a:accent3>
      <a:accent4>
        <a:srgbClr val="C0C0C0"/>
      </a:accent4>
      <a:accent5>
        <a:srgbClr val="0081AE"/>
      </a:accent5>
      <a:accent6>
        <a:srgbClr val="7FC0D6"/>
      </a:accent6>
      <a:hlink>
        <a:srgbClr val="336699"/>
      </a:hlink>
      <a:folHlink>
        <a:srgbClr val="7030A0"/>
      </a:folHlink>
    </a:clrScheme>
    <a:fontScheme name="EY IBK Proposal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99999"/>
        </a:solidFill>
        <a:ln w="9525" algn="ctr">
          <a:noFill/>
          <a:miter lim="800000"/>
          <a:headEnd/>
          <a:tailEnd/>
        </a:ln>
      </a:spPr>
      <a:bodyPr wrap="square" lIns="36000" tIns="0" rIns="0" bIns="0" anchor="ctr">
        <a:noAutofit/>
      </a:bodyPr>
      <a:lstStyle>
        <a:defPPr algn="ctr" latinLnBrk="0">
          <a:lnSpc>
            <a:spcPct val="120000"/>
          </a:lnSpc>
          <a:spcBef>
            <a:spcPts val="400"/>
          </a:spcBef>
          <a:buClr>
            <a:srgbClr val="646464"/>
          </a:buClr>
          <a:buSzPct val="90000"/>
          <a:defRPr sz="2400" b="1" kern="0" dirty="0" smtClean="0">
            <a:solidFill>
              <a:srgbClr val="FFFFFF"/>
            </a:solidFill>
            <a:cs typeface="Arial" pitchFamily="34" charset="0"/>
          </a:defRPr>
        </a:defPPr>
      </a:lstStyle>
    </a:spDef>
    <a:lnDef>
      <a:spPr bwMode="auto">
        <a:solidFill>
          <a:schemeClr val="accent1"/>
        </a:solidFill>
        <a:ln w="3175" cap="flat" cmpd="sng" algn="ctr">
          <a:solidFill>
            <a:schemeClr val="accent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52388">
          <a:spcBef>
            <a:spcPct val="20000"/>
          </a:spcBef>
          <a:buClr>
            <a:srgbClr val="FFD200"/>
          </a:buClr>
          <a:buSzPct val="75000"/>
          <a:defRPr sz="1400" kern="0" dirty="0" smtClean="0">
            <a:solidFill>
              <a:srgbClr val="646464">
                <a:lumMod val="50000"/>
              </a:srgbClr>
            </a:solidFill>
            <a:latin typeface="+mj-lt"/>
            <a:ea typeface="맑은 고딕" pitchFamily="50" charset="-127"/>
          </a:defRPr>
        </a:defPPr>
      </a:lstStyle>
    </a:txDef>
  </a:objectDefaults>
  <a:extraClrSchemeLst>
    <a:extraClrScheme>
      <a:clrScheme name="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2013 - 2022 테마">
  <a:themeElements>
    <a:clrScheme name="Office 2013 - 2022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08</TotalTime>
  <Words>1012</Words>
  <Application>Microsoft Office PowerPoint</Application>
  <PresentationFormat>A4 용지(210x297mm)</PresentationFormat>
  <Paragraphs>281</Paragraphs>
  <Slides>8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3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25" baseType="lpstr">
      <vt:lpstr>HY견고딕</vt:lpstr>
      <vt:lpstr>KoPub돋움체 Light</vt:lpstr>
      <vt:lpstr>나눔고딕</vt:lpstr>
      <vt:lpstr>나눔고딕 Bold</vt:lpstr>
      <vt:lpstr>나눔스퀘어</vt:lpstr>
      <vt:lpstr>나눔스퀘어 Bold</vt:lpstr>
      <vt:lpstr>나눔스퀘어 ExtraBold</vt:lpstr>
      <vt:lpstr>나눔스퀘어_ac ExtraBold</vt:lpstr>
      <vt:lpstr>나눔스퀘어라운드 Light</vt:lpstr>
      <vt:lpstr>맑은 고딕</vt:lpstr>
      <vt:lpstr>Arial</vt:lpstr>
      <vt:lpstr>Calibri</vt:lpstr>
      <vt:lpstr>Calibri Light</vt:lpstr>
      <vt:lpstr>디자인 사용자 지정</vt:lpstr>
      <vt:lpstr>EY_삼성화재_RPA</vt:lpstr>
      <vt:lpstr>Office 2013 - 2022 테마</vt:lpstr>
      <vt:lpstr>think-cell Slide</vt:lpstr>
      <vt:lpstr>PowerPoint 프레젠테이션</vt:lpstr>
      <vt:lpstr>맹경도 팀장 투입실적 - 일정단축</vt:lpstr>
      <vt:lpstr>맹경도 팀장 투입실적 – 기술적 관점</vt:lpstr>
      <vt:lpstr>맹경도 팀장 투입실적 – 업무적 관점</vt:lpstr>
      <vt:lpstr>1. 기간에 따른 TCO 비용지출 구조 (Total Cost of Ownership)</vt:lpstr>
      <vt:lpstr>2. RPA 솔루션비</vt:lpstr>
      <vt:lpstr>3.RPA 용역비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Taesoo KIm</dc:creator>
  <cp:lastModifiedBy>Daniel Maeng</cp:lastModifiedBy>
  <cp:revision>433</cp:revision>
  <cp:lastPrinted>2025-01-21T11:36:50Z</cp:lastPrinted>
  <dcterms:created xsi:type="dcterms:W3CDTF">2023-05-19T01:36:55Z</dcterms:created>
  <dcterms:modified xsi:type="dcterms:W3CDTF">2025-01-28T10:16:10Z</dcterms:modified>
</cp:coreProperties>
</file>